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3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4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harts/chart1.xml" ContentType="application/vnd.openxmlformats-officedocument.drawingml.chart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3" r:id="rId2"/>
    <p:sldMasterId id="2147483738" r:id="rId3"/>
    <p:sldMasterId id="2147483775" r:id="rId4"/>
    <p:sldMasterId id="2147483814" r:id="rId5"/>
  </p:sldMasterIdLst>
  <p:notesMasterIdLst>
    <p:notesMasterId r:id="rId48"/>
  </p:notesMasterIdLst>
  <p:handoutMasterIdLst>
    <p:handoutMasterId r:id="rId49"/>
  </p:handoutMasterIdLst>
  <p:sldIdLst>
    <p:sldId id="263" r:id="rId6"/>
    <p:sldId id="264" r:id="rId7"/>
    <p:sldId id="266" r:id="rId8"/>
    <p:sldId id="267" r:id="rId9"/>
    <p:sldId id="269" r:id="rId10"/>
    <p:sldId id="274" r:id="rId11"/>
    <p:sldId id="270" r:id="rId12"/>
    <p:sldId id="553" r:id="rId13"/>
    <p:sldId id="554" r:id="rId14"/>
    <p:sldId id="561" r:id="rId15"/>
    <p:sldId id="279" r:id="rId16"/>
    <p:sldId id="556" r:id="rId17"/>
    <p:sldId id="281" r:id="rId18"/>
    <p:sldId id="283" r:id="rId19"/>
    <p:sldId id="325" r:id="rId20"/>
    <p:sldId id="284" r:id="rId21"/>
    <p:sldId id="285" r:id="rId22"/>
    <p:sldId id="564" r:id="rId23"/>
    <p:sldId id="316" r:id="rId24"/>
    <p:sldId id="3264" r:id="rId25"/>
    <p:sldId id="315" r:id="rId26"/>
    <p:sldId id="277" r:id="rId27"/>
    <p:sldId id="286" r:id="rId28"/>
    <p:sldId id="322" r:id="rId29"/>
    <p:sldId id="280" r:id="rId30"/>
    <p:sldId id="287" r:id="rId31"/>
    <p:sldId id="323" r:id="rId32"/>
    <p:sldId id="321" r:id="rId33"/>
    <p:sldId id="324" r:id="rId34"/>
    <p:sldId id="289" r:id="rId35"/>
    <p:sldId id="294" r:id="rId36"/>
    <p:sldId id="291" r:id="rId37"/>
    <p:sldId id="293" r:id="rId38"/>
    <p:sldId id="296" r:id="rId39"/>
    <p:sldId id="298" r:id="rId40"/>
    <p:sldId id="299" r:id="rId41"/>
    <p:sldId id="300" r:id="rId42"/>
    <p:sldId id="301" r:id="rId43"/>
    <p:sldId id="304" r:id="rId44"/>
    <p:sldId id="306" r:id="rId45"/>
    <p:sldId id="1489" r:id="rId46"/>
    <p:sldId id="311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0702533-300C-7702-7E6D-BAA87C975107}" name="Sean Hennessey" initials="SH" userId="S::Sean.Hennessey@carlyle.com::8f8afd21-a55e-486a-8e58-23543da64633" providerId="AD"/>
  <p188:author id="{BB8FFC72-21DC-CCE4-321C-884C24554BE4}" name="Cate Christiaanse" initials="CC" userId="S::cate.christiaanse@lithespeed.com::d8388023-2d0b-4440-b57a-73314ed89d6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isham Faour" initials="HF" lastIdx="2" clrIdx="0">
    <p:extLst>
      <p:ext uri="{19B8F6BF-5375-455C-9EA6-DF929625EA0E}">
        <p15:presenceInfo xmlns:p15="http://schemas.microsoft.com/office/powerpoint/2012/main" userId="S-1-5-21-1265201269-1862738610-618671499-65419" providerId="AD"/>
      </p:ext>
    </p:extLst>
  </p:cmAuthor>
  <p:cmAuthor id="2" name="Kisha Salters" initials="KS" lastIdx="6" clrIdx="1">
    <p:extLst>
      <p:ext uri="{19B8F6BF-5375-455C-9EA6-DF929625EA0E}">
        <p15:presenceInfo xmlns:p15="http://schemas.microsoft.com/office/powerpoint/2012/main" userId="S::Kisha.Salters@carlyle.com::66083fe0-e496-498b-adce-973ec3476f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90A2"/>
    <a:srgbClr val="000000"/>
    <a:srgbClr val="2AADC3"/>
    <a:srgbClr val="EBD6AC"/>
    <a:srgbClr val="DFD6C4"/>
    <a:srgbClr val="E5B145"/>
    <a:srgbClr val="CB9D3D"/>
    <a:srgbClr val="A3CCF8"/>
    <a:srgbClr val="A2CBF4"/>
    <a:srgbClr val="219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A18A85-CC1E-476C-9CFD-52E5ADC8890C}" v="3" dt="2022-10-18T18:00:53.367"/>
    <p1510:client id="{FC9D9ABC-7DF4-4839-B38C-2E554A4BE0A2}" v="1" dt="2022-10-18T18:12:38.8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78" autoAdjust="0"/>
    <p:restoredTop sz="86359" autoAdjust="0"/>
  </p:normalViewPr>
  <p:slideViewPr>
    <p:cSldViewPr snapToGrid="0">
      <p:cViewPr varScale="1">
        <p:scale>
          <a:sx n="79" d="100"/>
          <a:sy n="79" d="100"/>
        </p:scale>
        <p:origin x="108" y="6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000"/>
    </p:cViewPr>
  </p:sorterViewPr>
  <p:notesViewPr>
    <p:cSldViewPr snapToGrid="0">
      <p:cViewPr varScale="1">
        <p:scale>
          <a:sx n="77" d="100"/>
          <a:sy n="77" d="100"/>
        </p:scale>
        <p:origin x="2092" y="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commentAuthors" Target="commentAuthors.xml"/><Relationship Id="rId55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notesMaster" Target="notesMasters/notesMaster1.xml"/><Relationship Id="rId56" Type="http://schemas.microsoft.com/office/2015/10/relationships/revisionInfo" Target="revisionInfo.xml"/><Relationship Id="rId8" Type="http://schemas.openxmlformats.org/officeDocument/2006/relationships/slide" Target="slides/slide3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handoutMaster" Target="handoutMasters/handoutMaster1.xml"/><Relationship Id="rId57" Type="http://schemas.microsoft.com/office/2018/10/relationships/authors" Target="author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J Parker" userId="a20a3e7372631f26" providerId="LiveId" clId="{1CA18A85-CC1E-476C-9CFD-52E5ADC8890C}"/>
    <pc:docChg chg="undo custSel addSld delSld modSld">
      <pc:chgData name="MJ Parker" userId="a20a3e7372631f26" providerId="LiveId" clId="{1CA18A85-CC1E-476C-9CFD-52E5ADC8890C}" dt="2022-10-18T18:00:44.950" v="111" actId="20577"/>
      <pc:docMkLst>
        <pc:docMk/>
      </pc:docMkLst>
      <pc:sldChg chg="modSp mod">
        <pc:chgData name="MJ Parker" userId="a20a3e7372631f26" providerId="LiveId" clId="{1CA18A85-CC1E-476C-9CFD-52E5ADC8890C}" dt="2022-10-18T18:00:44.950" v="111" actId="20577"/>
        <pc:sldMkLst>
          <pc:docMk/>
          <pc:sldMk cId="3476216585" sldId="258"/>
        </pc:sldMkLst>
        <pc:spChg chg="mod">
          <ac:chgData name="MJ Parker" userId="a20a3e7372631f26" providerId="LiveId" clId="{1CA18A85-CC1E-476C-9CFD-52E5ADC8890C}" dt="2022-10-18T18:00:44.950" v="111" actId="20577"/>
          <ac:spMkLst>
            <pc:docMk/>
            <pc:sldMk cId="3476216585" sldId="258"/>
            <ac:spMk id="9219" creationId="{00000000-0000-0000-0000-000000000000}"/>
          </ac:spMkLst>
        </pc:spChg>
      </pc:sldChg>
      <pc:sldChg chg="modSp mod">
        <pc:chgData name="MJ Parker" userId="a20a3e7372631f26" providerId="LiveId" clId="{1CA18A85-CC1E-476C-9CFD-52E5ADC8890C}" dt="2022-10-03T21:54:15.771" v="34" actId="6549"/>
        <pc:sldMkLst>
          <pc:docMk/>
          <pc:sldMk cId="1579699464" sldId="311"/>
        </pc:sldMkLst>
        <pc:spChg chg="mod">
          <ac:chgData name="MJ Parker" userId="a20a3e7372631f26" providerId="LiveId" clId="{1CA18A85-CC1E-476C-9CFD-52E5ADC8890C}" dt="2022-10-03T21:54:15.771" v="34" actId="6549"/>
          <ac:spMkLst>
            <pc:docMk/>
            <pc:sldMk cId="1579699464" sldId="311"/>
            <ac:spMk id="2" creationId="{00000000-0000-0000-0000-000000000000}"/>
          </ac:spMkLst>
        </pc:spChg>
      </pc:sldChg>
      <pc:sldChg chg="modSp mod">
        <pc:chgData name="MJ Parker" userId="a20a3e7372631f26" providerId="LiveId" clId="{1CA18A85-CC1E-476C-9CFD-52E5ADC8890C}" dt="2022-10-03T21:52:55.694" v="15" actId="27636"/>
        <pc:sldMkLst>
          <pc:docMk/>
          <pc:sldMk cId="2869821816" sldId="321"/>
        </pc:sldMkLst>
        <pc:spChg chg="mod">
          <ac:chgData name="MJ Parker" userId="a20a3e7372631f26" providerId="LiveId" clId="{1CA18A85-CC1E-476C-9CFD-52E5ADC8890C}" dt="2022-10-03T21:52:55.694" v="15" actId="27636"/>
          <ac:spMkLst>
            <pc:docMk/>
            <pc:sldMk cId="2869821816" sldId="321"/>
            <ac:spMk id="6" creationId="{B4732BC7-66DD-4BA5-9AE5-4BE3CF09398D}"/>
          </ac:spMkLst>
        </pc:spChg>
      </pc:sldChg>
      <pc:sldChg chg="modSp add del mod">
        <pc:chgData name="MJ Parker" userId="a20a3e7372631f26" providerId="LiveId" clId="{1CA18A85-CC1E-476C-9CFD-52E5ADC8890C}" dt="2022-10-03T21:52:57.717" v="16" actId="47"/>
        <pc:sldMkLst>
          <pc:docMk/>
          <pc:sldMk cId="1503652037" sldId="1486"/>
        </pc:sldMkLst>
        <pc:spChg chg="mod">
          <ac:chgData name="MJ Parker" userId="a20a3e7372631f26" providerId="LiveId" clId="{1CA18A85-CC1E-476C-9CFD-52E5ADC8890C}" dt="2022-10-03T21:52:34.608" v="13" actId="20577"/>
          <ac:spMkLst>
            <pc:docMk/>
            <pc:sldMk cId="1503652037" sldId="1486"/>
            <ac:spMk id="6" creationId="{3BFAFE41-06D4-4911-8C62-61121572EF83}"/>
          </ac:spMkLst>
        </pc:spChg>
      </pc:sldChg>
      <pc:sldChg chg="modSp new del mod">
        <pc:chgData name="MJ Parker" userId="a20a3e7372631f26" providerId="LiveId" clId="{1CA18A85-CC1E-476C-9CFD-52E5ADC8890C}" dt="2022-10-03T21:54:37.433" v="35" actId="2696"/>
        <pc:sldMkLst>
          <pc:docMk/>
          <pc:sldMk cId="4019743349" sldId="3265"/>
        </pc:sldMkLst>
        <pc:spChg chg="mod">
          <ac:chgData name="MJ Parker" userId="a20a3e7372631f26" providerId="LiveId" clId="{1CA18A85-CC1E-476C-9CFD-52E5ADC8890C}" dt="2022-10-03T21:53:36.453" v="20" actId="21"/>
          <ac:spMkLst>
            <pc:docMk/>
            <pc:sldMk cId="4019743349" sldId="3265"/>
            <ac:spMk id="2" creationId="{5E5AE42C-EA98-4297-B754-43F69AC7AEB4}"/>
          </ac:spMkLst>
        </pc:spChg>
        <pc:spChg chg="mod">
          <ac:chgData name="MJ Parker" userId="a20a3e7372631f26" providerId="LiveId" clId="{1CA18A85-CC1E-476C-9CFD-52E5ADC8890C}" dt="2022-10-03T21:53:18.638" v="19" actId="6549"/>
          <ac:spMkLst>
            <pc:docMk/>
            <pc:sldMk cId="4019743349" sldId="3265"/>
            <ac:spMk id="3" creationId="{EAEC8525-6BB4-471F-BF0F-27B3059EE237}"/>
          </ac:spMkLst>
        </pc:spChg>
      </pc:sldChg>
      <pc:sldMasterChg chg="delSldLayout">
        <pc:chgData name="MJ Parker" userId="a20a3e7372631f26" providerId="LiveId" clId="{1CA18A85-CC1E-476C-9CFD-52E5ADC8890C}" dt="2022-10-03T21:54:37.433" v="35" actId="2696"/>
        <pc:sldMasterMkLst>
          <pc:docMk/>
          <pc:sldMasterMk cId="3876381057" sldId="2147483648"/>
        </pc:sldMasterMkLst>
        <pc:sldLayoutChg chg="del">
          <pc:chgData name="MJ Parker" userId="a20a3e7372631f26" providerId="LiveId" clId="{1CA18A85-CC1E-476C-9CFD-52E5ADC8890C}" dt="2022-10-03T21:54:37.433" v="35" actId="2696"/>
          <pc:sldLayoutMkLst>
            <pc:docMk/>
            <pc:sldMasterMk cId="3876381057" sldId="2147483648"/>
            <pc:sldLayoutMk cId="2177964088" sldId="2147483859"/>
          </pc:sldLayoutMkLst>
        </pc:sldLayoutChg>
      </pc:sldMasterChg>
    </pc:docChg>
  </pc:docChgLst>
  <pc:docChgLst>
    <pc:chgData name="Guest User" providerId="Windows Live" clId="Web-{FC9D9ABC-7DF4-4839-B38C-2E554A4BE0A2}"/>
    <pc:docChg chg="delSld">
      <pc:chgData name="Guest User" userId="" providerId="Windows Live" clId="Web-{FC9D9ABC-7DF4-4839-B38C-2E554A4BE0A2}" dt="2022-10-18T18:12:38.851" v="0"/>
      <pc:docMkLst>
        <pc:docMk/>
      </pc:docMkLst>
      <pc:sldChg chg="del">
        <pc:chgData name="Guest User" userId="" providerId="Windows Live" clId="Web-{FC9D9ABC-7DF4-4839-B38C-2E554A4BE0A2}" dt="2022-10-18T18:12:38.851" v="0"/>
        <pc:sldMkLst>
          <pc:docMk/>
          <pc:sldMk cId="3476216585" sldId="25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rin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5</c:v>
                </c:pt>
                <c:pt idx="1">
                  <c:v>90</c:v>
                </c:pt>
                <c:pt idx="2">
                  <c:v>85</c:v>
                </c:pt>
                <c:pt idx="3">
                  <c:v>80</c:v>
                </c:pt>
                <c:pt idx="4">
                  <c:v>70</c:v>
                </c:pt>
                <c:pt idx="5">
                  <c:v>40</c:v>
                </c:pt>
                <c:pt idx="6">
                  <c:v>35</c:v>
                </c:pt>
                <c:pt idx="7">
                  <c:v>30</c:v>
                </c:pt>
                <c:pt idx="8">
                  <c:v>10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27-4DA3-9255-89DAA24CB0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464576"/>
        <c:axId val="108093824"/>
      </c:lineChart>
      <c:catAx>
        <c:axId val="1074645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Day in Spri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093824"/>
        <c:crosses val="autoZero"/>
        <c:auto val="1"/>
        <c:lblAlgn val="ctr"/>
        <c:lblOffset val="100"/>
        <c:noMultiLvlLbl val="0"/>
      </c:catAx>
      <c:valAx>
        <c:axId val="10809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Hours  Remaining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464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FD95EE-B774-490D-8E97-701E30118001}" type="doc">
      <dgm:prSet loTypeId="urn:microsoft.com/office/officeart/2005/8/layout/vList5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BB7F7B2-0DE8-4830-BF90-C0C30C83A701}">
      <dgm:prSet phldrT="[Text]" custT="1"/>
      <dgm:spPr/>
      <dgm:t>
        <a:bodyPr/>
        <a:lstStyle/>
        <a:p>
          <a:r>
            <a:rPr lang="en-US" sz="1000" dirty="0"/>
            <a:t>1</a:t>
          </a:r>
        </a:p>
      </dgm:t>
    </dgm:pt>
    <dgm:pt modelId="{FDD39A67-7F3F-4FC9-ADFB-14D1B0173A44}" type="parTrans" cxnId="{75F4E8A0-2ED9-470B-8144-EE4E9C78EA09}">
      <dgm:prSet/>
      <dgm:spPr/>
      <dgm:t>
        <a:bodyPr/>
        <a:lstStyle/>
        <a:p>
          <a:endParaRPr lang="en-US"/>
        </a:p>
      </dgm:t>
    </dgm:pt>
    <dgm:pt modelId="{72F9721F-7CCB-4EE9-B6A7-6BF98D96BE97}" type="sibTrans" cxnId="{75F4E8A0-2ED9-470B-8144-EE4E9C78EA09}">
      <dgm:prSet/>
      <dgm:spPr/>
      <dgm:t>
        <a:bodyPr/>
        <a:lstStyle/>
        <a:p>
          <a:endParaRPr lang="en-US"/>
        </a:p>
      </dgm:t>
    </dgm:pt>
    <dgm:pt modelId="{5944E2D3-41DF-4B21-8177-AA9F09415AE0}">
      <dgm:prSet phldrT="[Text]" custT="1"/>
      <dgm:spPr/>
      <dgm:t>
        <a:bodyPr lIns="91440" rIns="91440"/>
        <a:lstStyle/>
        <a:p>
          <a:pPr marL="119063" indent="-119063">
            <a:spcAft>
              <a:spcPts val="0"/>
            </a:spcAft>
            <a:buFontTx/>
            <a:buNone/>
          </a:pPr>
          <a:r>
            <a:rPr lang="en-US" sz="1100" b="1" dirty="0"/>
            <a:t>Our highest priority is to satisfy the customer through early and continuous delivery of valuable </a:t>
          </a:r>
          <a:r>
            <a:rPr lang="en-US" sz="1100" b="1" i="1" dirty="0"/>
            <a:t>product</a:t>
          </a:r>
          <a:r>
            <a:rPr lang="en-US" sz="1100" b="1" dirty="0"/>
            <a:t>.</a:t>
          </a:r>
        </a:p>
      </dgm:t>
    </dgm:pt>
    <dgm:pt modelId="{E0365238-BE86-4BD8-A2BC-282F09D49611}" type="parTrans" cxnId="{3023BFF9-81DD-4CDB-9B09-B72DF1EC8861}">
      <dgm:prSet/>
      <dgm:spPr/>
      <dgm:t>
        <a:bodyPr/>
        <a:lstStyle/>
        <a:p>
          <a:endParaRPr lang="en-US"/>
        </a:p>
      </dgm:t>
    </dgm:pt>
    <dgm:pt modelId="{C2617DAF-62F6-4B0B-8987-61FD13820FA6}" type="sibTrans" cxnId="{3023BFF9-81DD-4CDB-9B09-B72DF1EC8861}">
      <dgm:prSet/>
      <dgm:spPr/>
      <dgm:t>
        <a:bodyPr/>
        <a:lstStyle/>
        <a:p>
          <a:endParaRPr lang="en-US"/>
        </a:p>
      </dgm:t>
    </dgm:pt>
    <dgm:pt modelId="{51257953-4825-4D61-9B7B-94C64626A871}">
      <dgm:prSet phldrT="[Text]" custT="1"/>
      <dgm:spPr/>
      <dgm:t>
        <a:bodyPr/>
        <a:lstStyle/>
        <a:p>
          <a:r>
            <a:rPr lang="en-US" sz="1000" dirty="0"/>
            <a:t>2</a:t>
          </a:r>
        </a:p>
      </dgm:t>
    </dgm:pt>
    <dgm:pt modelId="{BB9D1173-E11F-471A-9EF9-532E2B4AF6F7}" type="parTrans" cxnId="{BEF09672-5166-4346-AE0B-BDECEB7E586D}">
      <dgm:prSet/>
      <dgm:spPr/>
      <dgm:t>
        <a:bodyPr/>
        <a:lstStyle/>
        <a:p>
          <a:endParaRPr lang="en-US"/>
        </a:p>
      </dgm:t>
    </dgm:pt>
    <dgm:pt modelId="{65C2972D-1390-49EF-85D3-1FDFB7F8641E}" type="sibTrans" cxnId="{BEF09672-5166-4346-AE0B-BDECEB7E586D}">
      <dgm:prSet/>
      <dgm:spPr/>
      <dgm:t>
        <a:bodyPr/>
        <a:lstStyle/>
        <a:p>
          <a:endParaRPr lang="en-US"/>
        </a:p>
      </dgm:t>
    </dgm:pt>
    <dgm:pt modelId="{530F8133-B5A2-4BB3-9F15-6CBB68C717B6}">
      <dgm:prSet phldrT="[Text]" custT="1"/>
      <dgm:spPr/>
      <dgm:t>
        <a:bodyPr lIns="91440" rIns="91440"/>
        <a:lstStyle/>
        <a:p>
          <a:pPr marL="114300" indent="-114300">
            <a:spcAft>
              <a:spcPts val="0"/>
            </a:spcAft>
            <a:buFontTx/>
            <a:buNone/>
          </a:pPr>
          <a:r>
            <a:rPr lang="en-US" sz="1100" dirty="0"/>
            <a:t>Welcome changing requirements, even late in development. Agile processes harness change for the customer’s competitive advantage.</a:t>
          </a:r>
        </a:p>
      </dgm:t>
    </dgm:pt>
    <dgm:pt modelId="{13030795-1887-4100-8A1E-7D37FC7CB467}" type="parTrans" cxnId="{B3DC1A3F-082F-4C13-8D92-18E6BA03EBB9}">
      <dgm:prSet/>
      <dgm:spPr/>
      <dgm:t>
        <a:bodyPr/>
        <a:lstStyle/>
        <a:p>
          <a:endParaRPr lang="en-US"/>
        </a:p>
      </dgm:t>
    </dgm:pt>
    <dgm:pt modelId="{54EBCBA5-988E-4871-B682-EB7ECF990A53}" type="sibTrans" cxnId="{B3DC1A3F-082F-4C13-8D92-18E6BA03EBB9}">
      <dgm:prSet/>
      <dgm:spPr/>
      <dgm:t>
        <a:bodyPr/>
        <a:lstStyle/>
        <a:p>
          <a:endParaRPr lang="en-US"/>
        </a:p>
      </dgm:t>
    </dgm:pt>
    <dgm:pt modelId="{95BF4E86-49FF-4610-872B-16DBE259C0C6}">
      <dgm:prSet phldrT="[Text]" custT="1"/>
      <dgm:spPr/>
      <dgm:t>
        <a:bodyPr/>
        <a:lstStyle/>
        <a:p>
          <a:r>
            <a:rPr lang="en-US" sz="1000" dirty="0"/>
            <a:t>3</a:t>
          </a:r>
        </a:p>
      </dgm:t>
    </dgm:pt>
    <dgm:pt modelId="{DD507D35-B25A-4827-8814-C664DD4E8777}" type="parTrans" cxnId="{77B5668B-41F6-4A65-96B6-BB0B0C336A90}">
      <dgm:prSet/>
      <dgm:spPr/>
      <dgm:t>
        <a:bodyPr/>
        <a:lstStyle/>
        <a:p>
          <a:endParaRPr lang="en-US"/>
        </a:p>
      </dgm:t>
    </dgm:pt>
    <dgm:pt modelId="{E6325581-0C9D-445B-BB64-CCA1DC5CE755}" type="sibTrans" cxnId="{77B5668B-41F6-4A65-96B6-BB0B0C336A90}">
      <dgm:prSet/>
      <dgm:spPr/>
      <dgm:t>
        <a:bodyPr/>
        <a:lstStyle/>
        <a:p>
          <a:endParaRPr lang="en-US"/>
        </a:p>
      </dgm:t>
    </dgm:pt>
    <dgm:pt modelId="{06C0F4EE-B46E-4C8E-B54F-784A762B3654}">
      <dgm:prSet phldrT="[Text]" custT="1"/>
      <dgm:spPr/>
      <dgm:t>
        <a:bodyPr lIns="91440" rIns="91440"/>
        <a:lstStyle/>
        <a:p>
          <a:pPr marL="114300" indent="-114300">
            <a:spcAft>
              <a:spcPts val="0"/>
            </a:spcAft>
            <a:buFontTx/>
            <a:buNone/>
          </a:pPr>
          <a:r>
            <a:rPr lang="en-US" sz="1100" b="1" dirty="0"/>
            <a:t>Deliver working </a:t>
          </a:r>
          <a:r>
            <a:rPr lang="en-US" sz="1100" b="1" i="1" dirty="0"/>
            <a:t>product</a:t>
          </a:r>
          <a:r>
            <a:rPr lang="en-US" sz="1100" b="1" i="0" dirty="0"/>
            <a:t> </a:t>
          </a:r>
          <a:r>
            <a:rPr lang="en-US" sz="1100" b="1" dirty="0"/>
            <a:t>frequently, from a couple of weeks to a couple of months, with a preference to the shorter timescale. </a:t>
          </a:r>
        </a:p>
      </dgm:t>
    </dgm:pt>
    <dgm:pt modelId="{7C35CFF9-F623-4C6D-B5AF-83B4ADB73145}" type="parTrans" cxnId="{579A66DE-18EC-4AB4-AD7F-F8686B88C2DE}">
      <dgm:prSet/>
      <dgm:spPr/>
      <dgm:t>
        <a:bodyPr/>
        <a:lstStyle/>
        <a:p>
          <a:endParaRPr lang="en-US"/>
        </a:p>
      </dgm:t>
    </dgm:pt>
    <dgm:pt modelId="{F01F2026-7ECE-4FDD-B607-5D9E0B6C4E3E}" type="sibTrans" cxnId="{579A66DE-18EC-4AB4-AD7F-F8686B88C2DE}">
      <dgm:prSet/>
      <dgm:spPr/>
      <dgm:t>
        <a:bodyPr/>
        <a:lstStyle/>
        <a:p>
          <a:endParaRPr lang="en-US"/>
        </a:p>
      </dgm:t>
    </dgm:pt>
    <dgm:pt modelId="{5EF8C694-6E39-463C-B310-2C0D287FAE93}">
      <dgm:prSet phldrT="[Text]" custT="1"/>
      <dgm:spPr/>
      <dgm:t>
        <a:bodyPr lIns="91440" rIns="91440"/>
        <a:lstStyle/>
        <a:p>
          <a:pPr marL="114300" indent="-114300">
            <a:spcAft>
              <a:spcPts val="0"/>
            </a:spcAft>
            <a:buNone/>
          </a:pPr>
          <a:r>
            <a:rPr lang="en-US" sz="1100" b="1" dirty="0"/>
            <a:t>Business people and developers must work together daily throughout the project.</a:t>
          </a:r>
        </a:p>
      </dgm:t>
    </dgm:pt>
    <dgm:pt modelId="{AB414173-F419-46AE-8182-3ED83FAB4B32}" type="parTrans" cxnId="{574B9A48-AD7A-421D-8A31-A71EE40B378A}">
      <dgm:prSet/>
      <dgm:spPr/>
      <dgm:t>
        <a:bodyPr/>
        <a:lstStyle/>
        <a:p>
          <a:endParaRPr lang="en-US"/>
        </a:p>
      </dgm:t>
    </dgm:pt>
    <dgm:pt modelId="{C94C97C8-62D3-47EF-B4CD-F567E549F808}" type="sibTrans" cxnId="{574B9A48-AD7A-421D-8A31-A71EE40B378A}">
      <dgm:prSet/>
      <dgm:spPr/>
      <dgm:t>
        <a:bodyPr/>
        <a:lstStyle/>
        <a:p>
          <a:endParaRPr lang="en-US"/>
        </a:p>
      </dgm:t>
    </dgm:pt>
    <dgm:pt modelId="{F4BEEF09-3E52-4DE3-BC92-5A4CF91290E7}">
      <dgm:prSet phldrT="[Text]" custT="1"/>
      <dgm:spPr/>
      <dgm:t>
        <a:bodyPr lIns="91440" rIns="91440"/>
        <a:lstStyle/>
        <a:p>
          <a:pPr marL="114300" indent="-114300">
            <a:spcAft>
              <a:spcPts val="0"/>
            </a:spcAft>
            <a:buNone/>
          </a:pPr>
          <a:r>
            <a:rPr lang="en-US" sz="1100" dirty="0"/>
            <a:t>Build projects around motivated individuals.  Give them the environment and support they need, and trust them to get the job done.</a:t>
          </a:r>
        </a:p>
      </dgm:t>
    </dgm:pt>
    <dgm:pt modelId="{8A00A61A-768B-47DB-AB42-EC46B1848FD0}" type="parTrans" cxnId="{27D2B413-02A7-4F90-85AD-23F173D1A699}">
      <dgm:prSet/>
      <dgm:spPr/>
      <dgm:t>
        <a:bodyPr/>
        <a:lstStyle/>
        <a:p>
          <a:endParaRPr lang="en-US"/>
        </a:p>
      </dgm:t>
    </dgm:pt>
    <dgm:pt modelId="{B3840D79-AE4C-402B-9B16-5EBFB4E57BB3}" type="sibTrans" cxnId="{27D2B413-02A7-4F90-85AD-23F173D1A699}">
      <dgm:prSet/>
      <dgm:spPr/>
      <dgm:t>
        <a:bodyPr/>
        <a:lstStyle/>
        <a:p>
          <a:endParaRPr lang="en-US"/>
        </a:p>
      </dgm:t>
    </dgm:pt>
    <dgm:pt modelId="{625D0111-AF62-4437-8E98-CE41A14D7B17}">
      <dgm:prSet phldrT="[Text]" custT="1"/>
      <dgm:spPr/>
      <dgm:t>
        <a:bodyPr/>
        <a:lstStyle/>
        <a:p>
          <a:r>
            <a:rPr lang="en-US" sz="1000" dirty="0"/>
            <a:t>4</a:t>
          </a:r>
        </a:p>
      </dgm:t>
    </dgm:pt>
    <dgm:pt modelId="{8F4240FB-4D07-4E9B-B0E5-1DA1BC0E0D89}" type="parTrans" cxnId="{02F50BC4-1E2E-4238-ACFA-656B12E94338}">
      <dgm:prSet/>
      <dgm:spPr/>
      <dgm:t>
        <a:bodyPr/>
        <a:lstStyle/>
        <a:p>
          <a:endParaRPr lang="en-US"/>
        </a:p>
      </dgm:t>
    </dgm:pt>
    <dgm:pt modelId="{06D3FDBB-8A78-4D49-888A-E70FEED8F8F1}" type="sibTrans" cxnId="{02F50BC4-1E2E-4238-ACFA-656B12E94338}">
      <dgm:prSet/>
      <dgm:spPr/>
      <dgm:t>
        <a:bodyPr/>
        <a:lstStyle/>
        <a:p>
          <a:endParaRPr lang="en-US"/>
        </a:p>
      </dgm:t>
    </dgm:pt>
    <dgm:pt modelId="{F798A8B3-4B64-419A-B0DA-7CE77A5F472F}">
      <dgm:prSet phldrT="[Text]" custT="1"/>
      <dgm:spPr/>
      <dgm:t>
        <a:bodyPr/>
        <a:lstStyle/>
        <a:p>
          <a:r>
            <a:rPr lang="en-US" sz="1000" dirty="0"/>
            <a:t>5</a:t>
          </a:r>
        </a:p>
      </dgm:t>
    </dgm:pt>
    <dgm:pt modelId="{D5CD89EA-83A0-43F0-84C4-280F51738B75}" type="parTrans" cxnId="{CAAF69EF-B106-4408-94FB-B69C90C9DC6A}">
      <dgm:prSet/>
      <dgm:spPr/>
      <dgm:t>
        <a:bodyPr/>
        <a:lstStyle/>
        <a:p>
          <a:endParaRPr lang="en-US"/>
        </a:p>
      </dgm:t>
    </dgm:pt>
    <dgm:pt modelId="{08D10BF8-3B2A-41C9-902F-FD240F6F170B}" type="sibTrans" cxnId="{CAAF69EF-B106-4408-94FB-B69C90C9DC6A}">
      <dgm:prSet/>
      <dgm:spPr/>
      <dgm:t>
        <a:bodyPr/>
        <a:lstStyle/>
        <a:p>
          <a:endParaRPr lang="en-US"/>
        </a:p>
      </dgm:t>
    </dgm:pt>
    <dgm:pt modelId="{436F8FDA-84FC-44C0-9440-649EA7011C53}">
      <dgm:prSet phldrT="[Text]" custT="1"/>
      <dgm:spPr/>
      <dgm:t>
        <a:bodyPr lIns="91440" rIns="91440"/>
        <a:lstStyle/>
        <a:p>
          <a:pPr marL="114300" indent="-114300">
            <a:buNone/>
          </a:pPr>
          <a:r>
            <a:rPr lang="en-US" sz="1100" dirty="0"/>
            <a:t>The most efficient and effective method of conveying information to and within a development team is face-to-face conversation.</a:t>
          </a:r>
        </a:p>
      </dgm:t>
    </dgm:pt>
    <dgm:pt modelId="{712F755D-CC17-4C74-851E-80EE328DE4B1}" type="parTrans" cxnId="{7C7E9FBD-7B41-4F35-8DDD-00DE97419523}">
      <dgm:prSet/>
      <dgm:spPr/>
      <dgm:t>
        <a:bodyPr/>
        <a:lstStyle/>
        <a:p>
          <a:endParaRPr lang="en-US"/>
        </a:p>
      </dgm:t>
    </dgm:pt>
    <dgm:pt modelId="{B1F058F4-0400-46FA-8BA7-6861E0628612}" type="sibTrans" cxnId="{7C7E9FBD-7B41-4F35-8DDD-00DE97419523}">
      <dgm:prSet/>
      <dgm:spPr/>
      <dgm:t>
        <a:bodyPr/>
        <a:lstStyle/>
        <a:p>
          <a:endParaRPr lang="en-US"/>
        </a:p>
      </dgm:t>
    </dgm:pt>
    <dgm:pt modelId="{F24099C0-4363-4E4E-B7CE-34FBC04F742C}">
      <dgm:prSet phldrT="[Text]" custT="1"/>
      <dgm:spPr/>
      <dgm:t>
        <a:bodyPr/>
        <a:lstStyle/>
        <a:p>
          <a:r>
            <a:rPr lang="en-US" sz="1000" dirty="0"/>
            <a:t>6</a:t>
          </a:r>
        </a:p>
      </dgm:t>
    </dgm:pt>
    <dgm:pt modelId="{400ED8E3-EB42-44CE-963E-F1C0F06CA33A}" type="parTrans" cxnId="{ABABDEFE-C92C-4CB6-8958-E45E36C44CE4}">
      <dgm:prSet/>
      <dgm:spPr/>
      <dgm:t>
        <a:bodyPr/>
        <a:lstStyle/>
        <a:p>
          <a:endParaRPr lang="en-US"/>
        </a:p>
      </dgm:t>
    </dgm:pt>
    <dgm:pt modelId="{CEB30E8F-0367-4073-9976-7E1951843C5B}" type="sibTrans" cxnId="{ABABDEFE-C92C-4CB6-8958-E45E36C44CE4}">
      <dgm:prSet/>
      <dgm:spPr/>
      <dgm:t>
        <a:bodyPr/>
        <a:lstStyle/>
        <a:p>
          <a:endParaRPr lang="en-US"/>
        </a:p>
      </dgm:t>
    </dgm:pt>
    <dgm:pt modelId="{592DFE08-4709-4C50-B44F-B06C1F1470C4}" type="pres">
      <dgm:prSet presAssocID="{E4FD95EE-B774-490D-8E97-701E30118001}" presName="Name0" presStyleCnt="0">
        <dgm:presLayoutVars>
          <dgm:dir/>
          <dgm:animLvl val="lvl"/>
          <dgm:resizeHandles val="exact"/>
        </dgm:presLayoutVars>
      </dgm:prSet>
      <dgm:spPr/>
    </dgm:pt>
    <dgm:pt modelId="{08111F62-BB7D-4216-BD4C-84AF7F08A7BB}" type="pres">
      <dgm:prSet presAssocID="{2BB7F7B2-0DE8-4830-BF90-C0C30C83A701}" presName="linNode" presStyleCnt="0"/>
      <dgm:spPr/>
    </dgm:pt>
    <dgm:pt modelId="{4C4AC72C-FD96-41FD-95EA-AF33DEAE70DB}" type="pres">
      <dgm:prSet presAssocID="{2BB7F7B2-0DE8-4830-BF90-C0C30C83A701}" presName="parentText" presStyleLbl="node1" presStyleIdx="0" presStyleCnt="6" custScaleX="15741">
        <dgm:presLayoutVars>
          <dgm:chMax val="1"/>
          <dgm:bulletEnabled val="1"/>
        </dgm:presLayoutVars>
      </dgm:prSet>
      <dgm:spPr/>
    </dgm:pt>
    <dgm:pt modelId="{D42069BE-759C-4427-A9D3-0D3FD2E9630B}" type="pres">
      <dgm:prSet presAssocID="{2BB7F7B2-0DE8-4830-BF90-C0C30C83A701}" presName="descendantText" presStyleLbl="alignAccFollowNode1" presStyleIdx="0" presStyleCnt="6">
        <dgm:presLayoutVars>
          <dgm:bulletEnabled val="1"/>
        </dgm:presLayoutVars>
      </dgm:prSet>
      <dgm:spPr/>
    </dgm:pt>
    <dgm:pt modelId="{D33177D0-0758-456A-ADCE-65DCBE79EEF5}" type="pres">
      <dgm:prSet presAssocID="{72F9721F-7CCB-4EE9-B6A7-6BF98D96BE97}" presName="sp" presStyleCnt="0"/>
      <dgm:spPr/>
    </dgm:pt>
    <dgm:pt modelId="{A49D1671-EEEA-45B0-B966-036B12D12B9E}" type="pres">
      <dgm:prSet presAssocID="{51257953-4825-4D61-9B7B-94C64626A871}" presName="linNode" presStyleCnt="0"/>
      <dgm:spPr/>
    </dgm:pt>
    <dgm:pt modelId="{FEEC1E37-7421-4C99-845B-37D3E74AC21D}" type="pres">
      <dgm:prSet presAssocID="{51257953-4825-4D61-9B7B-94C64626A871}" presName="parentText" presStyleLbl="node1" presStyleIdx="1" presStyleCnt="6" custScaleX="15741">
        <dgm:presLayoutVars>
          <dgm:chMax val="1"/>
          <dgm:bulletEnabled val="1"/>
        </dgm:presLayoutVars>
      </dgm:prSet>
      <dgm:spPr/>
    </dgm:pt>
    <dgm:pt modelId="{9E57236F-B173-4B8B-9112-0FF04743E0DE}" type="pres">
      <dgm:prSet presAssocID="{51257953-4825-4D61-9B7B-94C64626A871}" presName="descendantText" presStyleLbl="alignAccFollowNode1" presStyleIdx="1" presStyleCnt="6">
        <dgm:presLayoutVars>
          <dgm:bulletEnabled val="1"/>
        </dgm:presLayoutVars>
      </dgm:prSet>
      <dgm:spPr/>
    </dgm:pt>
    <dgm:pt modelId="{4DDA0E60-6641-4417-8239-B4CCC2AE81C0}" type="pres">
      <dgm:prSet presAssocID="{65C2972D-1390-49EF-85D3-1FDFB7F8641E}" presName="sp" presStyleCnt="0"/>
      <dgm:spPr/>
    </dgm:pt>
    <dgm:pt modelId="{2E5FA073-EDB2-487E-99C1-AE0816EA188C}" type="pres">
      <dgm:prSet presAssocID="{95BF4E86-49FF-4610-872B-16DBE259C0C6}" presName="linNode" presStyleCnt="0"/>
      <dgm:spPr/>
    </dgm:pt>
    <dgm:pt modelId="{003FDC24-5AF6-4878-911C-DA05C9F446A6}" type="pres">
      <dgm:prSet presAssocID="{95BF4E86-49FF-4610-872B-16DBE259C0C6}" presName="parentText" presStyleLbl="node1" presStyleIdx="2" presStyleCnt="6" custScaleX="15741">
        <dgm:presLayoutVars>
          <dgm:chMax val="1"/>
          <dgm:bulletEnabled val="1"/>
        </dgm:presLayoutVars>
      </dgm:prSet>
      <dgm:spPr/>
    </dgm:pt>
    <dgm:pt modelId="{FDB2123C-F804-4B3E-8F55-766925442666}" type="pres">
      <dgm:prSet presAssocID="{95BF4E86-49FF-4610-872B-16DBE259C0C6}" presName="descendantText" presStyleLbl="alignAccFollowNode1" presStyleIdx="2" presStyleCnt="6">
        <dgm:presLayoutVars>
          <dgm:bulletEnabled val="1"/>
        </dgm:presLayoutVars>
      </dgm:prSet>
      <dgm:spPr/>
    </dgm:pt>
    <dgm:pt modelId="{B1F3F138-B5F4-4EA7-ADA4-C371DD3B8EC6}" type="pres">
      <dgm:prSet presAssocID="{E6325581-0C9D-445B-BB64-CCA1DC5CE755}" presName="sp" presStyleCnt="0"/>
      <dgm:spPr/>
    </dgm:pt>
    <dgm:pt modelId="{1DF02488-1B36-41D2-BF15-7222580E5978}" type="pres">
      <dgm:prSet presAssocID="{625D0111-AF62-4437-8E98-CE41A14D7B17}" presName="linNode" presStyleCnt="0"/>
      <dgm:spPr/>
    </dgm:pt>
    <dgm:pt modelId="{7A60988F-76E2-4BFC-A1A2-3F71F46568CA}" type="pres">
      <dgm:prSet presAssocID="{625D0111-AF62-4437-8E98-CE41A14D7B17}" presName="parentText" presStyleLbl="node1" presStyleIdx="3" presStyleCnt="6" custScaleX="15741">
        <dgm:presLayoutVars>
          <dgm:chMax val="1"/>
          <dgm:bulletEnabled val="1"/>
        </dgm:presLayoutVars>
      </dgm:prSet>
      <dgm:spPr/>
    </dgm:pt>
    <dgm:pt modelId="{E642A79A-BAB5-44C5-8F4C-252AFA7AA5B3}" type="pres">
      <dgm:prSet presAssocID="{625D0111-AF62-4437-8E98-CE41A14D7B17}" presName="descendantText" presStyleLbl="alignAccFollowNode1" presStyleIdx="3" presStyleCnt="6">
        <dgm:presLayoutVars>
          <dgm:bulletEnabled val="1"/>
        </dgm:presLayoutVars>
      </dgm:prSet>
      <dgm:spPr/>
    </dgm:pt>
    <dgm:pt modelId="{3FEF36E0-41F0-4E66-B24D-D2C8377DB49E}" type="pres">
      <dgm:prSet presAssocID="{06D3FDBB-8A78-4D49-888A-E70FEED8F8F1}" presName="sp" presStyleCnt="0"/>
      <dgm:spPr/>
    </dgm:pt>
    <dgm:pt modelId="{0F1A1239-3574-45CD-A219-EAFC79A5106A}" type="pres">
      <dgm:prSet presAssocID="{F798A8B3-4B64-419A-B0DA-7CE77A5F472F}" presName="linNode" presStyleCnt="0"/>
      <dgm:spPr/>
    </dgm:pt>
    <dgm:pt modelId="{3CF7222C-8A6A-4A67-8162-517CAEE9AB86}" type="pres">
      <dgm:prSet presAssocID="{F798A8B3-4B64-419A-B0DA-7CE77A5F472F}" presName="parentText" presStyleLbl="node1" presStyleIdx="4" presStyleCnt="6" custScaleX="15741">
        <dgm:presLayoutVars>
          <dgm:chMax val="1"/>
          <dgm:bulletEnabled val="1"/>
        </dgm:presLayoutVars>
      </dgm:prSet>
      <dgm:spPr/>
    </dgm:pt>
    <dgm:pt modelId="{98AD24BC-9E2A-4FE8-8DDB-31BC4C0904CC}" type="pres">
      <dgm:prSet presAssocID="{F798A8B3-4B64-419A-B0DA-7CE77A5F472F}" presName="descendantText" presStyleLbl="alignAccFollowNode1" presStyleIdx="4" presStyleCnt="6">
        <dgm:presLayoutVars>
          <dgm:bulletEnabled val="1"/>
        </dgm:presLayoutVars>
      </dgm:prSet>
      <dgm:spPr/>
    </dgm:pt>
    <dgm:pt modelId="{4E37B9EF-DB94-4F84-9924-5CA32B0D5855}" type="pres">
      <dgm:prSet presAssocID="{08D10BF8-3B2A-41C9-902F-FD240F6F170B}" presName="sp" presStyleCnt="0"/>
      <dgm:spPr/>
    </dgm:pt>
    <dgm:pt modelId="{4E6DED89-5DC2-4813-8F91-73C3C6328E5A}" type="pres">
      <dgm:prSet presAssocID="{F24099C0-4363-4E4E-B7CE-34FBC04F742C}" presName="linNode" presStyleCnt="0"/>
      <dgm:spPr/>
    </dgm:pt>
    <dgm:pt modelId="{5B6A93DE-519D-4CA0-9B06-4E2B9BC13B60}" type="pres">
      <dgm:prSet presAssocID="{F24099C0-4363-4E4E-B7CE-34FBC04F742C}" presName="parentText" presStyleLbl="node1" presStyleIdx="5" presStyleCnt="6" custScaleX="15741">
        <dgm:presLayoutVars>
          <dgm:chMax val="1"/>
          <dgm:bulletEnabled val="1"/>
        </dgm:presLayoutVars>
      </dgm:prSet>
      <dgm:spPr/>
    </dgm:pt>
    <dgm:pt modelId="{293A1193-90D9-49C0-8433-9DE0FBE7CD33}" type="pres">
      <dgm:prSet presAssocID="{F24099C0-4363-4E4E-B7CE-34FBC04F742C}" presName="descendantText" presStyleLbl="alignAccFollowNode1" presStyleIdx="5" presStyleCnt="6">
        <dgm:presLayoutVars>
          <dgm:bulletEnabled val="1"/>
        </dgm:presLayoutVars>
      </dgm:prSet>
      <dgm:spPr/>
    </dgm:pt>
  </dgm:ptLst>
  <dgm:cxnLst>
    <dgm:cxn modelId="{976B7811-4F4D-4CAC-9EE7-1C422AECEC43}" type="presOf" srcId="{06C0F4EE-B46E-4C8E-B54F-784A762B3654}" destId="{FDB2123C-F804-4B3E-8F55-766925442666}" srcOrd="0" destOrd="0" presId="urn:microsoft.com/office/officeart/2005/8/layout/vList5"/>
    <dgm:cxn modelId="{27D2B413-02A7-4F90-85AD-23F173D1A699}" srcId="{F798A8B3-4B64-419A-B0DA-7CE77A5F472F}" destId="{F4BEEF09-3E52-4DE3-BC92-5A4CF91290E7}" srcOrd="0" destOrd="0" parTransId="{8A00A61A-768B-47DB-AB42-EC46B1848FD0}" sibTransId="{B3840D79-AE4C-402B-9B16-5EBFB4E57BB3}"/>
    <dgm:cxn modelId="{B3DC1A3F-082F-4C13-8D92-18E6BA03EBB9}" srcId="{51257953-4825-4D61-9B7B-94C64626A871}" destId="{530F8133-B5A2-4BB3-9F15-6CBB68C717B6}" srcOrd="0" destOrd="0" parTransId="{13030795-1887-4100-8A1E-7D37FC7CB467}" sibTransId="{54EBCBA5-988E-4871-B682-EB7ECF990A53}"/>
    <dgm:cxn modelId="{574B9A48-AD7A-421D-8A31-A71EE40B378A}" srcId="{625D0111-AF62-4437-8E98-CE41A14D7B17}" destId="{5EF8C694-6E39-463C-B310-2C0D287FAE93}" srcOrd="0" destOrd="0" parTransId="{AB414173-F419-46AE-8182-3ED83FAB4B32}" sibTransId="{C94C97C8-62D3-47EF-B4CD-F567E549F808}"/>
    <dgm:cxn modelId="{BEF09672-5166-4346-AE0B-BDECEB7E586D}" srcId="{E4FD95EE-B774-490D-8E97-701E30118001}" destId="{51257953-4825-4D61-9B7B-94C64626A871}" srcOrd="1" destOrd="0" parTransId="{BB9D1173-E11F-471A-9EF9-532E2B4AF6F7}" sibTransId="{65C2972D-1390-49EF-85D3-1FDFB7F8641E}"/>
    <dgm:cxn modelId="{3D434655-B957-483D-A93E-613D73174E46}" type="presOf" srcId="{51257953-4825-4D61-9B7B-94C64626A871}" destId="{FEEC1E37-7421-4C99-845B-37D3E74AC21D}" srcOrd="0" destOrd="0" presId="urn:microsoft.com/office/officeart/2005/8/layout/vList5"/>
    <dgm:cxn modelId="{4D230976-8CEF-4F73-AF15-2CBDBFC2B3BE}" type="presOf" srcId="{F4BEEF09-3E52-4DE3-BC92-5A4CF91290E7}" destId="{98AD24BC-9E2A-4FE8-8DDB-31BC4C0904CC}" srcOrd="0" destOrd="0" presId="urn:microsoft.com/office/officeart/2005/8/layout/vList5"/>
    <dgm:cxn modelId="{77B5668B-41F6-4A65-96B6-BB0B0C336A90}" srcId="{E4FD95EE-B774-490D-8E97-701E30118001}" destId="{95BF4E86-49FF-4610-872B-16DBE259C0C6}" srcOrd="2" destOrd="0" parTransId="{DD507D35-B25A-4827-8814-C664DD4E8777}" sibTransId="{E6325581-0C9D-445B-BB64-CCA1DC5CE755}"/>
    <dgm:cxn modelId="{6ADB2098-77B3-4DF6-A29B-E1A6FA0DEE12}" type="presOf" srcId="{5EF8C694-6E39-463C-B310-2C0D287FAE93}" destId="{E642A79A-BAB5-44C5-8F4C-252AFA7AA5B3}" srcOrd="0" destOrd="0" presId="urn:microsoft.com/office/officeart/2005/8/layout/vList5"/>
    <dgm:cxn modelId="{75F4E8A0-2ED9-470B-8144-EE4E9C78EA09}" srcId="{E4FD95EE-B774-490D-8E97-701E30118001}" destId="{2BB7F7B2-0DE8-4830-BF90-C0C30C83A701}" srcOrd="0" destOrd="0" parTransId="{FDD39A67-7F3F-4FC9-ADFB-14D1B0173A44}" sibTransId="{72F9721F-7CCB-4EE9-B6A7-6BF98D96BE97}"/>
    <dgm:cxn modelId="{802776A7-5641-4147-AD7B-3FD4E0A920F9}" type="presOf" srcId="{625D0111-AF62-4437-8E98-CE41A14D7B17}" destId="{7A60988F-76E2-4BFC-A1A2-3F71F46568CA}" srcOrd="0" destOrd="0" presId="urn:microsoft.com/office/officeart/2005/8/layout/vList5"/>
    <dgm:cxn modelId="{C95535AD-5C8E-47F9-A6E2-AF0C3F9421F4}" type="presOf" srcId="{E4FD95EE-B774-490D-8E97-701E30118001}" destId="{592DFE08-4709-4C50-B44F-B06C1F1470C4}" srcOrd="0" destOrd="0" presId="urn:microsoft.com/office/officeart/2005/8/layout/vList5"/>
    <dgm:cxn modelId="{E93A99B4-40FC-4EA2-8D48-053A2F642A4A}" type="presOf" srcId="{2BB7F7B2-0DE8-4830-BF90-C0C30C83A701}" destId="{4C4AC72C-FD96-41FD-95EA-AF33DEAE70DB}" srcOrd="0" destOrd="0" presId="urn:microsoft.com/office/officeart/2005/8/layout/vList5"/>
    <dgm:cxn modelId="{7C7E9FBD-7B41-4F35-8DDD-00DE97419523}" srcId="{F24099C0-4363-4E4E-B7CE-34FBC04F742C}" destId="{436F8FDA-84FC-44C0-9440-649EA7011C53}" srcOrd="0" destOrd="0" parTransId="{712F755D-CC17-4C74-851E-80EE328DE4B1}" sibTransId="{B1F058F4-0400-46FA-8BA7-6861E0628612}"/>
    <dgm:cxn modelId="{376727C1-34B6-41D6-8508-69892150B321}" type="presOf" srcId="{436F8FDA-84FC-44C0-9440-649EA7011C53}" destId="{293A1193-90D9-49C0-8433-9DE0FBE7CD33}" srcOrd="0" destOrd="0" presId="urn:microsoft.com/office/officeart/2005/8/layout/vList5"/>
    <dgm:cxn modelId="{3D7DB3C1-BDA0-4C11-BB80-45D5F1BC8788}" type="presOf" srcId="{530F8133-B5A2-4BB3-9F15-6CBB68C717B6}" destId="{9E57236F-B173-4B8B-9112-0FF04743E0DE}" srcOrd="0" destOrd="0" presId="urn:microsoft.com/office/officeart/2005/8/layout/vList5"/>
    <dgm:cxn modelId="{02F50BC4-1E2E-4238-ACFA-656B12E94338}" srcId="{E4FD95EE-B774-490D-8E97-701E30118001}" destId="{625D0111-AF62-4437-8E98-CE41A14D7B17}" srcOrd="3" destOrd="0" parTransId="{8F4240FB-4D07-4E9B-B0E5-1DA1BC0E0D89}" sibTransId="{06D3FDBB-8A78-4D49-888A-E70FEED8F8F1}"/>
    <dgm:cxn modelId="{579A66DE-18EC-4AB4-AD7F-F8686B88C2DE}" srcId="{95BF4E86-49FF-4610-872B-16DBE259C0C6}" destId="{06C0F4EE-B46E-4C8E-B54F-784A762B3654}" srcOrd="0" destOrd="0" parTransId="{7C35CFF9-F623-4C6D-B5AF-83B4ADB73145}" sibTransId="{F01F2026-7ECE-4FDD-B607-5D9E0B6C4E3E}"/>
    <dgm:cxn modelId="{CAAF69EF-B106-4408-94FB-B69C90C9DC6A}" srcId="{E4FD95EE-B774-490D-8E97-701E30118001}" destId="{F798A8B3-4B64-419A-B0DA-7CE77A5F472F}" srcOrd="4" destOrd="0" parTransId="{D5CD89EA-83A0-43F0-84C4-280F51738B75}" sibTransId="{08D10BF8-3B2A-41C9-902F-FD240F6F170B}"/>
    <dgm:cxn modelId="{24DE5FF0-A876-4A27-AA73-E192AE2B1AC6}" type="presOf" srcId="{95BF4E86-49FF-4610-872B-16DBE259C0C6}" destId="{003FDC24-5AF6-4878-911C-DA05C9F446A6}" srcOrd="0" destOrd="0" presId="urn:microsoft.com/office/officeart/2005/8/layout/vList5"/>
    <dgm:cxn modelId="{4F5B02F1-C118-4375-B884-02A233C70BF8}" type="presOf" srcId="{F798A8B3-4B64-419A-B0DA-7CE77A5F472F}" destId="{3CF7222C-8A6A-4A67-8162-517CAEE9AB86}" srcOrd="0" destOrd="0" presId="urn:microsoft.com/office/officeart/2005/8/layout/vList5"/>
    <dgm:cxn modelId="{C96084F4-DD56-4540-A080-9B98BD10D067}" type="presOf" srcId="{F24099C0-4363-4E4E-B7CE-34FBC04F742C}" destId="{5B6A93DE-519D-4CA0-9B06-4E2B9BC13B60}" srcOrd="0" destOrd="0" presId="urn:microsoft.com/office/officeart/2005/8/layout/vList5"/>
    <dgm:cxn modelId="{3023BFF9-81DD-4CDB-9B09-B72DF1EC8861}" srcId="{2BB7F7B2-0DE8-4830-BF90-C0C30C83A701}" destId="{5944E2D3-41DF-4B21-8177-AA9F09415AE0}" srcOrd="0" destOrd="0" parTransId="{E0365238-BE86-4BD8-A2BC-282F09D49611}" sibTransId="{C2617DAF-62F6-4B0B-8987-61FD13820FA6}"/>
    <dgm:cxn modelId="{ABABDEFE-C92C-4CB6-8958-E45E36C44CE4}" srcId="{E4FD95EE-B774-490D-8E97-701E30118001}" destId="{F24099C0-4363-4E4E-B7CE-34FBC04F742C}" srcOrd="5" destOrd="0" parTransId="{400ED8E3-EB42-44CE-963E-F1C0F06CA33A}" sibTransId="{CEB30E8F-0367-4073-9976-7E1951843C5B}"/>
    <dgm:cxn modelId="{CF49A1FF-9CA4-428B-9EA9-8F85D9D29E7A}" type="presOf" srcId="{5944E2D3-41DF-4B21-8177-AA9F09415AE0}" destId="{D42069BE-759C-4427-A9D3-0D3FD2E9630B}" srcOrd="0" destOrd="0" presId="urn:microsoft.com/office/officeart/2005/8/layout/vList5"/>
    <dgm:cxn modelId="{CB53B4CF-8B0E-4551-9851-B5A55E78892C}" type="presParOf" srcId="{592DFE08-4709-4C50-B44F-B06C1F1470C4}" destId="{08111F62-BB7D-4216-BD4C-84AF7F08A7BB}" srcOrd="0" destOrd="0" presId="urn:microsoft.com/office/officeart/2005/8/layout/vList5"/>
    <dgm:cxn modelId="{C863C0FE-1630-48C6-9E1F-507B906B8813}" type="presParOf" srcId="{08111F62-BB7D-4216-BD4C-84AF7F08A7BB}" destId="{4C4AC72C-FD96-41FD-95EA-AF33DEAE70DB}" srcOrd="0" destOrd="0" presId="urn:microsoft.com/office/officeart/2005/8/layout/vList5"/>
    <dgm:cxn modelId="{EC0B0188-498E-44D4-8EDB-982994AF916E}" type="presParOf" srcId="{08111F62-BB7D-4216-BD4C-84AF7F08A7BB}" destId="{D42069BE-759C-4427-A9D3-0D3FD2E9630B}" srcOrd="1" destOrd="0" presId="urn:microsoft.com/office/officeart/2005/8/layout/vList5"/>
    <dgm:cxn modelId="{FB7FAFA4-87CD-4D43-9EE3-F04406F8E45E}" type="presParOf" srcId="{592DFE08-4709-4C50-B44F-B06C1F1470C4}" destId="{D33177D0-0758-456A-ADCE-65DCBE79EEF5}" srcOrd="1" destOrd="0" presId="urn:microsoft.com/office/officeart/2005/8/layout/vList5"/>
    <dgm:cxn modelId="{1F1BEB27-DDC6-40EC-818D-1615141378A6}" type="presParOf" srcId="{592DFE08-4709-4C50-B44F-B06C1F1470C4}" destId="{A49D1671-EEEA-45B0-B966-036B12D12B9E}" srcOrd="2" destOrd="0" presId="urn:microsoft.com/office/officeart/2005/8/layout/vList5"/>
    <dgm:cxn modelId="{5DB6F06E-3C9A-4DBB-A1B2-71585C29E3D5}" type="presParOf" srcId="{A49D1671-EEEA-45B0-B966-036B12D12B9E}" destId="{FEEC1E37-7421-4C99-845B-37D3E74AC21D}" srcOrd="0" destOrd="0" presId="urn:microsoft.com/office/officeart/2005/8/layout/vList5"/>
    <dgm:cxn modelId="{084FED47-4B41-4694-A963-2826169F257E}" type="presParOf" srcId="{A49D1671-EEEA-45B0-B966-036B12D12B9E}" destId="{9E57236F-B173-4B8B-9112-0FF04743E0DE}" srcOrd="1" destOrd="0" presId="urn:microsoft.com/office/officeart/2005/8/layout/vList5"/>
    <dgm:cxn modelId="{E9019002-13CF-409D-8B20-B739C7B8A1E7}" type="presParOf" srcId="{592DFE08-4709-4C50-B44F-B06C1F1470C4}" destId="{4DDA0E60-6641-4417-8239-B4CCC2AE81C0}" srcOrd="3" destOrd="0" presId="urn:microsoft.com/office/officeart/2005/8/layout/vList5"/>
    <dgm:cxn modelId="{5B7483D3-A424-47CD-B630-C16CE357161A}" type="presParOf" srcId="{592DFE08-4709-4C50-B44F-B06C1F1470C4}" destId="{2E5FA073-EDB2-487E-99C1-AE0816EA188C}" srcOrd="4" destOrd="0" presId="urn:microsoft.com/office/officeart/2005/8/layout/vList5"/>
    <dgm:cxn modelId="{33578862-3875-4FFC-B56C-1043A28355F2}" type="presParOf" srcId="{2E5FA073-EDB2-487E-99C1-AE0816EA188C}" destId="{003FDC24-5AF6-4878-911C-DA05C9F446A6}" srcOrd="0" destOrd="0" presId="urn:microsoft.com/office/officeart/2005/8/layout/vList5"/>
    <dgm:cxn modelId="{BFA38BC2-BAD6-499B-941B-A2123AF456AF}" type="presParOf" srcId="{2E5FA073-EDB2-487E-99C1-AE0816EA188C}" destId="{FDB2123C-F804-4B3E-8F55-766925442666}" srcOrd="1" destOrd="0" presId="urn:microsoft.com/office/officeart/2005/8/layout/vList5"/>
    <dgm:cxn modelId="{2CFBE481-12F0-42F6-B746-AE5F411D2502}" type="presParOf" srcId="{592DFE08-4709-4C50-B44F-B06C1F1470C4}" destId="{B1F3F138-B5F4-4EA7-ADA4-C371DD3B8EC6}" srcOrd="5" destOrd="0" presId="urn:microsoft.com/office/officeart/2005/8/layout/vList5"/>
    <dgm:cxn modelId="{7753B340-C838-42EA-9E24-9426D1AD6349}" type="presParOf" srcId="{592DFE08-4709-4C50-B44F-B06C1F1470C4}" destId="{1DF02488-1B36-41D2-BF15-7222580E5978}" srcOrd="6" destOrd="0" presId="urn:microsoft.com/office/officeart/2005/8/layout/vList5"/>
    <dgm:cxn modelId="{7F74D91D-6F5E-4C36-950D-E9F6FEE214DD}" type="presParOf" srcId="{1DF02488-1B36-41D2-BF15-7222580E5978}" destId="{7A60988F-76E2-4BFC-A1A2-3F71F46568CA}" srcOrd="0" destOrd="0" presId="urn:microsoft.com/office/officeart/2005/8/layout/vList5"/>
    <dgm:cxn modelId="{3658F114-0836-4419-B70C-ED0ACC2EAA4E}" type="presParOf" srcId="{1DF02488-1B36-41D2-BF15-7222580E5978}" destId="{E642A79A-BAB5-44C5-8F4C-252AFA7AA5B3}" srcOrd="1" destOrd="0" presId="urn:microsoft.com/office/officeart/2005/8/layout/vList5"/>
    <dgm:cxn modelId="{10097269-0829-4C97-8916-C2425AE48FD5}" type="presParOf" srcId="{592DFE08-4709-4C50-B44F-B06C1F1470C4}" destId="{3FEF36E0-41F0-4E66-B24D-D2C8377DB49E}" srcOrd="7" destOrd="0" presId="urn:microsoft.com/office/officeart/2005/8/layout/vList5"/>
    <dgm:cxn modelId="{AEA0D509-E433-4629-8346-EF73CD46B025}" type="presParOf" srcId="{592DFE08-4709-4C50-B44F-B06C1F1470C4}" destId="{0F1A1239-3574-45CD-A219-EAFC79A5106A}" srcOrd="8" destOrd="0" presId="urn:microsoft.com/office/officeart/2005/8/layout/vList5"/>
    <dgm:cxn modelId="{AD1EC6D0-03E3-49EE-A3AF-529E040A9316}" type="presParOf" srcId="{0F1A1239-3574-45CD-A219-EAFC79A5106A}" destId="{3CF7222C-8A6A-4A67-8162-517CAEE9AB86}" srcOrd="0" destOrd="0" presId="urn:microsoft.com/office/officeart/2005/8/layout/vList5"/>
    <dgm:cxn modelId="{933425E4-FC45-4954-AD36-FE96264CAE94}" type="presParOf" srcId="{0F1A1239-3574-45CD-A219-EAFC79A5106A}" destId="{98AD24BC-9E2A-4FE8-8DDB-31BC4C0904CC}" srcOrd="1" destOrd="0" presId="urn:microsoft.com/office/officeart/2005/8/layout/vList5"/>
    <dgm:cxn modelId="{670E9349-5EEA-4126-AE45-EFE713F5F14D}" type="presParOf" srcId="{592DFE08-4709-4C50-B44F-B06C1F1470C4}" destId="{4E37B9EF-DB94-4F84-9924-5CA32B0D5855}" srcOrd="9" destOrd="0" presId="urn:microsoft.com/office/officeart/2005/8/layout/vList5"/>
    <dgm:cxn modelId="{672412AB-981D-4065-AA40-313342F03C71}" type="presParOf" srcId="{592DFE08-4709-4C50-B44F-B06C1F1470C4}" destId="{4E6DED89-5DC2-4813-8F91-73C3C6328E5A}" srcOrd="10" destOrd="0" presId="urn:microsoft.com/office/officeart/2005/8/layout/vList5"/>
    <dgm:cxn modelId="{9C554FEE-F4F2-48E2-B490-795580B746FF}" type="presParOf" srcId="{4E6DED89-5DC2-4813-8F91-73C3C6328E5A}" destId="{5B6A93DE-519D-4CA0-9B06-4E2B9BC13B60}" srcOrd="0" destOrd="0" presId="urn:microsoft.com/office/officeart/2005/8/layout/vList5"/>
    <dgm:cxn modelId="{A085560F-FEAC-401F-8794-00933817CF30}" type="presParOf" srcId="{4E6DED89-5DC2-4813-8F91-73C3C6328E5A}" destId="{293A1193-90D9-49C0-8433-9DE0FBE7CD3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4FD95EE-B774-490D-8E97-701E30118001}" type="doc">
      <dgm:prSet loTypeId="urn:microsoft.com/office/officeart/2005/8/layout/vList5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3A17222-868D-4E23-90D5-F304144C7B53}">
      <dgm:prSet phldrT="[Text]" custT="1"/>
      <dgm:spPr/>
      <dgm:t>
        <a:bodyPr lIns="91440" rIns="91440"/>
        <a:lstStyle/>
        <a:p>
          <a:pPr marL="114300" indent="-114300">
            <a:spcAft>
              <a:spcPts val="0"/>
            </a:spcAft>
            <a:buNone/>
          </a:pPr>
          <a:r>
            <a:rPr lang="en-US" sz="1100" b="1" dirty="0"/>
            <a:t>Working </a:t>
          </a:r>
          <a:r>
            <a:rPr lang="en-US" sz="1100" b="1" i="1" dirty="0"/>
            <a:t>product</a:t>
          </a:r>
          <a:r>
            <a:rPr lang="en-US" sz="1100" b="1" i="0" dirty="0"/>
            <a:t> </a:t>
          </a:r>
          <a:r>
            <a:rPr lang="en-US" sz="1100" b="1" dirty="0"/>
            <a:t>is the primary measure of progress.</a:t>
          </a:r>
        </a:p>
      </dgm:t>
    </dgm:pt>
    <dgm:pt modelId="{96001DED-AC54-445F-8A8C-2A26D076C7B3}" type="parTrans" cxnId="{AAA4BCEB-6C4E-4CDA-9602-342BD46BDB87}">
      <dgm:prSet/>
      <dgm:spPr/>
      <dgm:t>
        <a:bodyPr/>
        <a:lstStyle/>
        <a:p>
          <a:endParaRPr lang="en-US"/>
        </a:p>
      </dgm:t>
    </dgm:pt>
    <dgm:pt modelId="{BCF90028-988E-4936-894D-6DA24A32E1DE}" type="sibTrans" cxnId="{AAA4BCEB-6C4E-4CDA-9602-342BD46BDB87}">
      <dgm:prSet/>
      <dgm:spPr/>
      <dgm:t>
        <a:bodyPr/>
        <a:lstStyle/>
        <a:p>
          <a:endParaRPr lang="en-US"/>
        </a:p>
      </dgm:t>
    </dgm:pt>
    <dgm:pt modelId="{1CBB8B22-543B-4760-BDF6-E0121A345D09}">
      <dgm:prSet phldrT="[Text]" custT="1"/>
      <dgm:spPr/>
      <dgm:t>
        <a:bodyPr/>
        <a:lstStyle/>
        <a:p>
          <a:r>
            <a:rPr lang="en-US" sz="1000" dirty="0"/>
            <a:t>7</a:t>
          </a:r>
        </a:p>
      </dgm:t>
    </dgm:pt>
    <dgm:pt modelId="{702395F1-3214-4F1B-80E9-52A085ACF2D0}" type="parTrans" cxnId="{E7F4B3C1-A730-40D1-A786-23A650733321}">
      <dgm:prSet/>
      <dgm:spPr/>
      <dgm:t>
        <a:bodyPr/>
        <a:lstStyle/>
        <a:p>
          <a:endParaRPr lang="en-US"/>
        </a:p>
      </dgm:t>
    </dgm:pt>
    <dgm:pt modelId="{12FD6F50-B043-4C89-9FC3-BE07FB334476}" type="sibTrans" cxnId="{E7F4B3C1-A730-40D1-A786-23A650733321}">
      <dgm:prSet/>
      <dgm:spPr/>
      <dgm:t>
        <a:bodyPr/>
        <a:lstStyle/>
        <a:p>
          <a:endParaRPr lang="en-US"/>
        </a:p>
      </dgm:t>
    </dgm:pt>
    <dgm:pt modelId="{BEE026CA-7CD8-4E62-8E5B-D062DB920687}">
      <dgm:prSet custT="1"/>
      <dgm:spPr/>
      <dgm:t>
        <a:bodyPr lIns="91440" rIns="91440"/>
        <a:lstStyle/>
        <a:p>
          <a:pPr marL="114300" indent="-114300">
            <a:spcAft>
              <a:spcPts val="0"/>
            </a:spcAft>
            <a:buNone/>
          </a:pPr>
          <a:r>
            <a:rPr lang="en-US" sz="1100" dirty="0"/>
            <a:t>Agile processes promote sustainable development.  The sponsors, developers, and users should be able to maintain a constant pace indefinitely.</a:t>
          </a:r>
        </a:p>
      </dgm:t>
    </dgm:pt>
    <dgm:pt modelId="{8894A032-6B87-4924-A43F-2CF27206B844}" type="parTrans" cxnId="{376363A6-5ECE-4B03-A385-363B4F05C842}">
      <dgm:prSet/>
      <dgm:spPr/>
      <dgm:t>
        <a:bodyPr/>
        <a:lstStyle/>
        <a:p>
          <a:endParaRPr lang="en-US"/>
        </a:p>
      </dgm:t>
    </dgm:pt>
    <dgm:pt modelId="{87147A31-8C52-43EF-8421-FCD36D0201CD}" type="sibTrans" cxnId="{376363A6-5ECE-4B03-A385-363B4F05C842}">
      <dgm:prSet/>
      <dgm:spPr/>
      <dgm:t>
        <a:bodyPr/>
        <a:lstStyle/>
        <a:p>
          <a:endParaRPr lang="en-US"/>
        </a:p>
      </dgm:t>
    </dgm:pt>
    <dgm:pt modelId="{B56705CF-8069-4A2E-9E20-9D9ECC93971E}">
      <dgm:prSet phldrT="[Text]" custT="1"/>
      <dgm:spPr/>
      <dgm:t>
        <a:bodyPr/>
        <a:lstStyle/>
        <a:p>
          <a:r>
            <a:rPr lang="en-US" sz="1000" dirty="0"/>
            <a:t>8</a:t>
          </a:r>
        </a:p>
      </dgm:t>
    </dgm:pt>
    <dgm:pt modelId="{9309B809-CDA9-48BF-B124-926A4D822440}" type="parTrans" cxnId="{E7DA7F5B-4427-470B-80A3-DFAADC40DA68}">
      <dgm:prSet/>
      <dgm:spPr/>
      <dgm:t>
        <a:bodyPr/>
        <a:lstStyle/>
        <a:p>
          <a:endParaRPr lang="en-US"/>
        </a:p>
      </dgm:t>
    </dgm:pt>
    <dgm:pt modelId="{AC9BDAA4-B41F-49FD-B727-1421C5BB1437}" type="sibTrans" cxnId="{E7DA7F5B-4427-470B-80A3-DFAADC40DA68}">
      <dgm:prSet/>
      <dgm:spPr/>
      <dgm:t>
        <a:bodyPr/>
        <a:lstStyle/>
        <a:p>
          <a:endParaRPr lang="en-US"/>
        </a:p>
      </dgm:t>
    </dgm:pt>
    <dgm:pt modelId="{914640E6-AD59-4CA3-B262-C82401DFE5F1}">
      <dgm:prSet custT="1"/>
      <dgm:spPr/>
      <dgm:t>
        <a:bodyPr lIns="91440" rIns="91440"/>
        <a:lstStyle/>
        <a:p>
          <a:pPr marL="114300" indent="-114300">
            <a:spcAft>
              <a:spcPts val="0"/>
            </a:spcAft>
            <a:buNone/>
          </a:pPr>
          <a:r>
            <a:rPr lang="en-US" sz="1100" dirty="0"/>
            <a:t>The best architectures, requirements, and designs emerge from self-organizing teams.</a:t>
          </a:r>
        </a:p>
      </dgm:t>
    </dgm:pt>
    <dgm:pt modelId="{DB230911-6553-4ACF-8EDF-212596AC64F6}" type="parTrans" cxnId="{8E80C36D-A81D-4FF2-A29A-9F66D17AC37E}">
      <dgm:prSet/>
      <dgm:spPr/>
      <dgm:t>
        <a:bodyPr/>
        <a:lstStyle/>
        <a:p>
          <a:endParaRPr lang="en-US"/>
        </a:p>
      </dgm:t>
    </dgm:pt>
    <dgm:pt modelId="{06FAC6A1-04F6-411C-8646-E77D3E87F0E9}" type="sibTrans" cxnId="{8E80C36D-A81D-4FF2-A29A-9F66D17AC37E}">
      <dgm:prSet/>
      <dgm:spPr/>
      <dgm:t>
        <a:bodyPr/>
        <a:lstStyle/>
        <a:p>
          <a:endParaRPr lang="en-US"/>
        </a:p>
      </dgm:t>
    </dgm:pt>
    <dgm:pt modelId="{E25473DF-F8AC-4E49-B81B-8262B4D6F99D}">
      <dgm:prSet custT="1"/>
      <dgm:spPr/>
      <dgm:t>
        <a:bodyPr/>
        <a:lstStyle/>
        <a:p>
          <a:r>
            <a:rPr lang="en-US" sz="1000" dirty="0"/>
            <a:t>9</a:t>
          </a:r>
        </a:p>
      </dgm:t>
    </dgm:pt>
    <dgm:pt modelId="{22C4AA9E-FFF2-4E42-ADA1-5800FD55AD08}" type="parTrans" cxnId="{C98309A0-B6EA-4B09-AE3E-81108070A509}">
      <dgm:prSet/>
      <dgm:spPr/>
      <dgm:t>
        <a:bodyPr/>
        <a:lstStyle/>
        <a:p>
          <a:endParaRPr lang="en-US"/>
        </a:p>
      </dgm:t>
    </dgm:pt>
    <dgm:pt modelId="{C58C717B-C1AF-4B0A-9489-25EE3B210061}" type="sibTrans" cxnId="{C98309A0-B6EA-4B09-AE3E-81108070A509}">
      <dgm:prSet/>
      <dgm:spPr/>
      <dgm:t>
        <a:bodyPr/>
        <a:lstStyle/>
        <a:p>
          <a:endParaRPr lang="en-US"/>
        </a:p>
      </dgm:t>
    </dgm:pt>
    <dgm:pt modelId="{95F756A1-D061-4817-B9A1-19D70BD95E41}">
      <dgm:prSet custT="1"/>
      <dgm:spPr/>
      <dgm:t>
        <a:bodyPr lIns="91440" rIns="91440"/>
        <a:lstStyle/>
        <a:p>
          <a:pPr marL="114300" indent="-114300">
            <a:spcAft>
              <a:spcPts val="0"/>
            </a:spcAft>
            <a:buNone/>
          </a:pPr>
          <a:r>
            <a:rPr lang="en-US" sz="1100" b="1" dirty="0"/>
            <a:t>Continuous attention to technical excellence and good design enhances agility. </a:t>
          </a:r>
        </a:p>
      </dgm:t>
    </dgm:pt>
    <dgm:pt modelId="{7D402903-282D-45C3-8C5E-412250D65495}" type="parTrans" cxnId="{39DD2C5C-209E-40FE-9F04-C3099C11459A}">
      <dgm:prSet/>
      <dgm:spPr/>
      <dgm:t>
        <a:bodyPr/>
        <a:lstStyle/>
        <a:p>
          <a:endParaRPr lang="en-US"/>
        </a:p>
      </dgm:t>
    </dgm:pt>
    <dgm:pt modelId="{5C05698A-9FD7-4AE5-A13B-3B6F5B745168}" type="sibTrans" cxnId="{39DD2C5C-209E-40FE-9F04-C3099C11459A}">
      <dgm:prSet/>
      <dgm:spPr/>
      <dgm:t>
        <a:bodyPr/>
        <a:lstStyle/>
        <a:p>
          <a:endParaRPr lang="en-US"/>
        </a:p>
      </dgm:t>
    </dgm:pt>
    <dgm:pt modelId="{9FC6CDAE-296B-46DB-ABDB-3EE9CF6ABE33}">
      <dgm:prSet custT="1"/>
      <dgm:spPr/>
      <dgm:t>
        <a:bodyPr/>
        <a:lstStyle/>
        <a:p>
          <a:r>
            <a:rPr lang="en-US" sz="1000" dirty="0"/>
            <a:t>11</a:t>
          </a:r>
        </a:p>
      </dgm:t>
    </dgm:pt>
    <dgm:pt modelId="{58C79CBD-68E9-4013-9FB3-D9380533FDBC}" type="parTrans" cxnId="{3DA8309E-A56A-4402-A3E6-01C700BAA4CA}">
      <dgm:prSet/>
      <dgm:spPr/>
      <dgm:t>
        <a:bodyPr/>
        <a:lstStyle/>
        <a:p>
          <a:endParaRPr lang="en-US"/>
        </a:p>
      </dgm:t>
    </dgm:pt>
    <dgm:pt modelId="{0D5606CE-CA74-434D-BAF9-C978A60DCEB8}" type="sibTrans" cxnId="{3DA8309E-A56A-4402-A3E6-01C700BAA4CA}">
      <dgm:prSet/>
      <dgm:spPr/>
      <dgm:t>
        <a:bodyPr/>
        <a:lstStyle/>
        <a:p>
          <a:endParaRPr lang="en-US"/>
        </a:p>
      </dgm:t>
    </dgm:pt>
    <dgm:pt modelId="{44B60289-D05A-4DDE-91F6-2F30E070696F}">
      <dgm:prSet custT="1"/>
      <dgm:spPr/>
      <dgm:t>
        <a:bodyPr lIns="91440" rIns="91440"/>
        <a:lstStyle/>
        <a:p>
          <a:pPr marL="114300" indent="-114300">
            <a:spcAft>
              <a:spcPts val="0"/>
            </a:spcAft>
            <a:buNone/>
          </a:pPr>
          <a:r>
            <a:rPr lang="en-US" sz="1100" dirty="0"/>
            <a:t>Simplicity – the art of maximizing the amount of work not done – is essential.</a:t>
          </a:r>
        </a:p>
      </dgm:t>
    </dgm:pt>
    <dgm:pt modelId="{D2CD064B-3832-42EF-B11D-DAE3C55D0F18}" type="parTrans" cxnId="{B7EA02B6-2E15-44C0-9775-9FA2B2A7C2E7}">
      <dgm:prSet/>
      <dgm:spPr/>
      <dgm:t>
        <a:bodyPr/>
        <a:lstStyle/>
        <a:p>
          <a:endParaRPr lang="en-US"/>
        </a:p>
      </dgm:t>
    </dgm:pt>
    <dgm:pt modelId="{02E9465D-8F16-4C68-82BC-98E5F04B5F14}" type="sibTrans" cxnId="{B7EA02B6-2E15-44C0-9775-9FA2B2A7C2E7}">
      <dgm:prSet/>
      <dgm:spPr/>
      <dgm:t>
        <a:bodyPr/>
        <a:lstStyle/>
        <a:p>
          <a:endParaRPr lang="en-US"/>
        </a:p>
      </dgm:t>
    </dgm:pt>
    <dgm:pt modelId="{7CF8A849-B40B-4051-AED6-6A60DDBE4BD8}">
      <dgm:prSet custT="1"/>
      <dgm:spPr/>
      <dgm:t>
        <a:bodyPr/>
        <a:lstStyle/>
        <a:p>
          <a:r>
            <a:rPr lang="en-US" sz="1000" dirty="0"/>
            <a:t>10</a:t>
          </a:r>
        </a:p>
      </dgm:t>
    </dgm:pt>
    <dgm:pt modelId="{0C9F54B3-EDAB-4A85-9ED2-E4EBC301FF98}" type="parTrans" cxnId="{C3660714-2481-4480-8AEC-54E9C35F73D3}">
      <dgm:prSet/>
      <dgm:spPr/>
      <dgm:t>
        <a:bodyPr/>
        <a:lstStyle/>
        <a:p>
          <a:endParaRPr lang="en-US"/>
        </a:p>
      </dgm:t>
    </dgm:pt>
    <dgm:pt modelId="{40491F99-5922-4BE3-B45D-88DFA2206F75}" type="sibTrans" cxnId="{C3660714-2481-4480-8AEC-54E9C35F73D3}">
      <dgm:prSet/>
      <dgm:spPr/>
      <dgm:t>
        <a:bodyPr/>
        <a:lstStyle/>
        <a:p>
          <a:endParaRPr lang="en-US"/>
        </a:p>
      </dgm:t>
    </dgm:pt>
    <dgm:pt modelId="{6FA87CE9-AA18-4D72-B62E-1E11A4794014}">
      <dgm:prSet custT="1"/>
      <dgm:spPr/>
      <dgm:t>
        <a:bodyPr lIns="91440" rIns="91440"/>
        <a:lstStyle/>
        <a:p>
          <a:pPr marL="114300" indent="-114300">
            <a:spcAft>
              <a:spcPts val="0"/>
            </a:spcAft>
            <a:buNone/>
          </a:pPr>
          <a:r>
            <a:rPr lang="en-US" sz="1100" b="1" dirty="0"/>
            <a:t>At regular intervals, the team reflects on how to become more effective, then tunes and adjusts its behavior accordingly.</a:t>
          </a:r>
        </a:p>
      </dgm:t>
    </dgm:pt>
    <dgm:pt modelId="{455DED3C-3DD0-4F26-8A8E-9BF280AEBCD0}" type="parTrans" cxnId="{7FCA8CBC-DC26-4659-877D-7F39C18EF7F2}">
      <dgm:prSet/>
      <dgm:spPr/>
      <dgm:t>
        <a:bodyPr/>
        <a:lstStyle/>
        <a:p>
          <a:endParaRPr lang="en-US"/>
        </a:p>
      </dgm:t>
    </dgm:pt>
    <dgm:pt modelId="{051DD5DC-1457-45BB-9E5F-B9969A93F3B1}" type="sibTrans" cxnId="{7FCA8CBC-DC26-4659-877D-7F39C18EF7F2}">
      <dgm:prSet/>
      <dgm:spPr/>
      <dgm:t>
        <a:bodyPr/>
        <a:lstStyle/>
        <a:p>
          <a:endParaRPr lang="en-US"/>
        </a:p>
      </dgm:t>
    </dgm:pt>
    <dgm:pt modelId="{14481059-F665-4874-A058-5D50460942A2}">
      <dgm:prSet custT="1"/>
      <dgm:spPr/>
      <dgm:t>
        <a:bodyPr/>
        <a:lstStyle/>
        <a:p>
          <a:r>
            <a:rPr lang="en-US" sz="1000" dirty="0"/>
            <a:t>12</a:t>
          </a:r>
        </a:p>
      </dgm:t>
    </dgm:pt>
    <dgm:pt modelId="{9E0E0F40-F965-488A-9BD2-0DA3BB6B7F5F}" type="parTrans" cxnId="{6044CA45-753A-4903-BC66-67786D8BC64F}">
      <dgm:prSet/>
      <dgm:spPr/>
      <dgm:t>
        <a:bodyPr/>
        <a:lstStyle/>
        <a:p>
          <a:endParaRPr lang="en-US"/>
        </a:p>
      </dgm:t>
    </dgm:pt>
    <dgm:pt modelId="{37FCDFBA-0B65-4DA1-A2FE-C874F82B4134}" type="sibTrans" cxnId="{6044CA45-753A-4903-BC66-67786D8BC64F}">
      <dgm:prSet/>
      <dgm:spPr/>
      <dgm:t>
        <a:bodyPr/>
        <a:lstStyle/>
        <a:p>
          <a:endParaRPr lang="en-US"/>
        </a:p>
      </dgm:t>
    </dgm:pt>
    <dgm:pt modelId="{592DFE08-4709-4C50-B44F-B06C1F1470C4}" type="pres">
      <dgm:prSet presAssocID="{E4FD95EE-B774-490D-8E97-701E30118001}" presName="Name0" presStyleCnt="0">
        <dgm:presLayoutVars>
          <dgm:dir/>
          <dgm:animLvl val="lvl"/>
          <dgm:resizeHandles val="exact"/>
        </dgm:presLayoutVars>
      </dgm:prSet>
      <dgm:spPr/>
    </dgm:pt>
    <dgm:pt modelId="{0C70B2A9-913D-4E34-B397-8FA38C772219}" type="pres">
      <dgm:prSet presAssocID="{1CBB8B22-543B-4760-BDF6-E0121A345D09}" presName="linNode" presStyleCnt="0"/>
      <dgm:spPr/>
    </dgm:pt>
    <dgm:pt modelId="{CAD15721-243C-40C3-999F-433D7FA87DBF}" type="pres">
      <dgm:prSet presAssocID="{1CBB8B22-543B-4760-BDF6-E0121A345D09}" presName="parentText" presStyleLbl="node1" presStyleIdx="0" presStyleCnt="6" custScaleX="15741">
        <dgm:presLayoutVars>
          <dgm:chMax val="1"/>
          <dgm:bulletEnabled val="1"/>
        </dgm:presLayoutVars>
      </dgm:prSet>
      <dgm:spPr/>
    </dgm:pt>
    <dgm:pt modelId="{9C3C87A7-1183-4CA0-BC87-B19E787D2AF9}" type="pres">
      <dgm:prSet presAssocID="{1CBB8B22-543B-4760-BDF6-E0121A345D09}" presName="descendantText" presStyleLbl="alignAccFollowNode1" presStyleIdx="0" presStyleCnt="6">
        <dgm:presLayoutVars>
          <dgm:bulletEnabled val="1"/>
        </dgm:presLayoutVars>
      </dgm:prSet>
      <dgm:spPr/>
    </dgm:pt>
    <dgm:pt modelId="{E279454B-61B2-4931-8DAA-C09BDA105EBD}" type="pres">
      <dgm:prSet presAssocID="{12FD6F50-B043-4C89-9FC3-BE07FB334476}" presName="sp" presStyleCnt="0"/>
      <dgm:spPr/>
    </dgm:pt>
    <dgm:pt modelId="{4D763B4B-18E7-4251-8497-DEB18AAF6C14}" type="pres">
      <dgm:prSet presAssocID="{B56705CF-8069-4A2E-9E20-9D9ECC93971E}" presName="linNode" presStyleCnt="0"/>
      <dgm:spPr/>
    </dgm:pt>
    <dgm:pt modelId="{FBE7A222-B3F4-4EFB-B836-FE1FCCCF3059}" type="pres">
      <dgm:prSet presAssocID="{B56705CF-8069-4A2E-9E20-9D9ECC93971E}" presName="parentText" presStyleLbl="node1" presStyleIdx="1" presStyleCnt="6" custScaleX="15741">
        <dgm:presLayoutVars>
          <dgm:chMax val="1"/>
          <dgm:bulletEnabled val="1"/>
        </dgm:presLayoutVars>
      </dgm:prSet>
      <dgm:spPr/>
    </dgm:pt>
    <dgm:pt modelId="{8B842C5A-E2C6-431E-8F20-F5856D8E59F0}" type="pres">
      <dgm:prSet presAssocID="{B56705CF-8069-4A2E-9E20-9D9ECC93971E}" presName="descendantText" presStyleLbl="alignAccFollowNode1" presStyleIdx="1" presStyleCnt="6">
        <dgm:presLayoutVars>
          <dgm:bulletEnabled val="1"/>
        </dgm:presLayoutVars>
      </dgm:prSet>
      <dgm:spPr/>
    </dgm:pt>
    <dgm:pt modelId="{3301CCE1-7FDF-4EB4-983E-8421EF5D7DE5}" type="pres">
      <dgm:prSet presAssocID="{AC9BDAA4-B41F-49FD-B727-1421C5BB1437}" presName="sp" presStyleCnt="0"/>
      <dgm:spPr/>
    </dgm:pt>
    <dgm:pt modelId="{7E8435F8-92E8-4330-905D-2702D18F4108}" type="pres">
      <dgm:prSet presAssocID="{E25473DF-F8AC-4E49-B81B-8262B4D6F99D}" presName="linNode" presStyleCnt="0"/>
      <dgm:spPr/>
    </dgm:pt>
    <dgm:pt modelId="{A1E08467-6E06-4ACE-B010-FEB1C229770A}" type="pres">
      <dgm:prSet presAssocID="{E25473DF-F8AC-4E49-B81B-8262B4D6F99D}" presName="parentText" presStyleLbl="node1" presStyleIdx="2" presStyleCnt="6" custScaleX="15741">
        <dgm:presLayoutVars>
          <dgm:chMax val="1"/>
          <dgm:bulletEnabled val="1"/>
        </dgm:presLayoutVars>
      </dgm:prSet>
      <dgm:spPr/>
    </dgm:pt>
    <dgm:pt modelId="{12737982-84C8-4EBA-8391-9E523A882B05}" type="pres">
      <dgm:prSet presAssocID="{E25473DF-F8AC-4E49-B81B-8262B4D6F99D}" presName="descendantText" presStyleLbl="alignAccFollowNode1" presStyleIdx="2" presStyleCnt="6">
        <dgm:presLayoutVars>
          <dgm:bulletEnabled val="1"/>
        </dgm:presLayoutVars>
      </dgm:prSet>
      <dgm:spPr/>
    </dgm:pt>
    <dgm:pt modelId="{4AB0F295-4EEF-4F9A-ACF0-6A5059DEE25F}" type="pres">
      <dgm:prSet presAssocID="{C58C717B-C1AF-4B0A-9489-25EE3B210061}" presName="sp" presStyleCnt="0"/>
      <dgm:spPr/>
    </dgm:pt>
    <dgm:pt modelId="{49D54C86-4F6D-444B-8C42-231CE2B83967}" type="pres">
      <dgm:prSet presAssocID="{7CF8A849-B40B-4051-AED6-6A60DDBE4BD8}" presName="linNode" presStyleCnt="0"/>
      <dgm:spPr/>
    </dgm:pt>
    <dgm:pt modelId="{919C66B5-0047-42C8-8E7B-C421275AEA62}" type="pres">
      <dgm:prSet presAssocID="{7CF8A849-B40B-4051-AED6-6A60DDBE4BD8}" presName="parentText" presStyleLbl="node1" presStyleIdx="3" presStyleCnt="6" custScaleX="15741">
        <dgm:presLayoutVars>
          <dgm:chMax val="1"/>
          <dgm:bulletEnabled val="1"/>
        </dgm:presLayoutVars>
      </dgm:prSet>
      <dgm:spPr/>
    </dgm:pt>
    <dgm:pt modelId="{A3527EC8-E7DF-4BD4-B35A-AE4BBF211E54}" type="pres">
      <dgm:prSet presAssocID="{7CF8A849-B40B-4051-AED6-6A60DDBE4BD8}" presName="descendantText" presStyleLbl="alignAccFollowNode1" presStyleIdx="3" presStyleCnt="6">
        <dgm:presLayoutVars>
          <dgm:bulletEnabled val="1"/>
        </dgm:presLayoutVars>
      </dgm:prSet>
      <dgm:spPr/>
    </dgm:pt>
    <dgm:pt modelId="{CB4F192B-4F4E-4D42-AA0F-0D82B70FC5CA}" type="pres">
      <dgm:prSet presAssocID="{40491F99-5922-4BE3-B45D-88DFA2206F75}" presName="sp" presStyleCnt="0"/>
      <dgm:spPr/>
    </dgm:pt>
    <dgm:pt modelId="{D912CD7C-BA70-41D0-9768-54064326BC1C}" type="pres">
      <dgm:prSet presAssocID="{9FC6CDAE-296B-46DB-ABDB-3EE9CF6ABE33}" presName="linNode" presStyleCnt="0"/>
      <dgm:spPr/>
    </dgm:pt>
    <dgm:pt modelId="{0B19BACA-6A1E-4FB5-956A-9FBD7ACCEC66}" type="pres">
      <dgm:prSet presAssocID="{9FC6CDAE-296B-46DB-ABDB-3EE9CF6ABE33}" presName="parentText" presStyleLbl="node1" presStyleIdx="4" presStyleCnt="6" custScaleX="15741">
        <dgm:presLayoutVars>
          <dgm:chMax val="1"/>
          <dgm:bulletEnabled val="1"/>
        </dgm:presLayoutVars>
      </dgm:prSet>
      <dgm:spPr/>
    </dgm:pt>
    <dgm:pt modelId="{9FA97557-15A6-43F8-830E-235EF6CED38D}" type="pres">
      <dgm:prSet presAssocID="{9FC6CDAE-296B-46DB-ABDB-3EE9CF6ABE33}" presName="descendantText" presStyleLbl="alignAccFollowNode1" presStyleIdx="4" presStyleCnt="6">
        <dgm:presLayoutVars>
          <dgm:bulletEnabled val="1"/>
        </dgm:presLayoutVars>
      </dgm:prSet>
      <dgm:spPr/>
    </dgm:pt>
    <dgm:pt modelId="{4F469327-3269-4E9D-9EED-3CFC98B7FEA9}" type="pres">
      <dgm:prSet presAssocID="{0D5606CE-CA74-434D-BAF9-C978A60DCEB8}" presName="sp" presStyleCnt="0"/>
      <dgm:spPr/>
    </dgm:pt>
    <dgm:pt modelId="{73911727-366A-4699-800A-C8B8FD3CA86C}" type="pres">
      <dgm:prSet presAssocID="{14481059-F665-4874-A058-5D50460942A2}" presName="linNode" presStyleCnt="0"/>
      <dgm:spPr/>
    </dgm:pt>
    <dgm:pt modelId="{0E7C7753-96D5-4E2E-A522-1F4E70DE8E4C}" type="pres">
      <dgm:prSet presAssocID="{14481059-F665-4874-A058-5D50460942A2}" presName="parentText" presStyleLbl="node1" presStyleIdx="5" presStyleCnt="6" custScaleX="15741">
        <dgm:presLayoutVars>
          <dgm:chMax val="1"/>
          <dgm:bulletEnabled val="1"/>
        </dgm:presLayoutVars>
      </dgm:prSet>
      <dgm:spPr/>
    </dgm:pt>
    <dgm:pt modelId="{19F6FB13-3523-49AB-AC29-506EAA205605}" type="pres">
      <dgm:prSet presAssocID="{14481059-F665-4874-A058-5D50460942A2}" presName="descendantText" presStyleLbl="alignAccFollowNode1" presStyleIdx="5" presStyleCnt="6">
        <dgm:presLayoutVars>
          <dgm:bulletEnabled val="1"/>
        </dgm:presLayoutVars>
      </dgm:prSet>
      <dgm:spPr/>
    </dgm:pt>
  </dgm:ptLst>
  <dgm:cxnLst>
    <dgm:cxn modelId="{BB99ED0E-5B69-4132-BF4A-EF938C50FBAC}" type="presOf" srcId="{914640E6-AD59-4CA3-B262-C82401DFE5F1}" destId="{9FA97557-15A6-43F8-830E-235EF6CED38D}" srcOrd="0" destOrd="0" presId="urn:microsoft.com/office/officeart/2005/8/layout/vList5"/>
    <dgm:cxn modelId="{C3660714-2481-4480-8AEC-54E9C35F73D3}" srcId="{E4FD95EE-B774-490D-8E97-701E30118001}" destId="{7CF8A849-B40B-4051-AED6-6A60DDBE4BD8}" srcOrd="3" destOrd="0" parTransId="{0C9F54B3-EDAB-4A85-9ED2-E4EBC301FF98}" sibTransId="{40491F99-5922-4BE3-B45D-88DFA2206F75}"/>
    <dgm:cxn modelId="{10286F21-43B7-4631-B9D2-D8D7C8AA9EA9}" type="presOf" srcId="{E25473DF-F8AC-4E49-B81B-8262B4D6F99D}" destId="{A1E08467-6E06-4ACE-B010-FEB1C229770A}" srcOrd="0" destOrd="0" presId="urn:microsoft.com/office/officeart/2005/8/layout/vList5"/>
    <dgm:cxn modelId="{E7DA7F5B-4427-470B-80A3-DFAADC40DA68}" srcId="{E4FD95EE-B774-490D-8E97-701E30118001}" destId="{B56705CF-8069-4A2E-9E20-9D9ECC93971E}" srcOrd="1" destOrd="0" parTransId="{9309B809-CDA9-48BF-B124-926A4D822440}" sibTransId="{AC9BDAA4-B41F-49FD-B727-1421C5BB1437}"/>
    <dgm:cxn modelId="{39DD2C5C-209E-40FE-9F04-C3099C11459A}" srcId="{E25473DF-F8AC-4E49-B81B-8262B4D6F99D}" destId="{95F756A1-D061-4817-B9A1-19D70BD95E41}" srcOrd="0" destOrd="0" parTransId="{7D402903-282D-45C3-8C5E-412250D65495}" sibTransId="{5C05698A-9FD7-4AE5-A13B-3B6F5B745168}"/>
    <dgm:cxn modelId="{6044CA45-753A-4903-BC66-67786D8BC64F}" srcId="{E4FD95EE-B774-490D-8E97-701E30118001}" destId="{14481059-F665-4874-A058-5D50460942A2}" srcOrd="5" destOrd="0" parTransId="{9E0E0F40-F965-488A-9BD2-0DA3BB6B7F5F}" sibTransId="{37FCDFBA-0B65-4DA1-A2FE-C874F82B4134}"/>
    <dgm:cxn modelId="{7B4A0767-C964-448D-9E26-6F896F5D289B}" type="presOf" srcId="{B56705CF-8069-4A2E-9E20-9D9ECC93971E}" destId="{FBE7A222-B3F4-4EFB-B836-FE1FCCCF3059}" srcOrd="0" destOrd="0" presId="urn:microsoft.com/office/officeart/2005/8/layout/vList5"/>
    <dgm:cxn modelId="{8E80C36D-A81D-4FF2-A29A-9F66D17AC37E}" srcId="{9FC6CDAE-296B-46DB-ABDB-3EE9CF6ABE33}" destId="{914640E6-AD59-4CA3-B262-C82401DFE5F1}" srcOrd="0" destOrd="0" parTransId="{DB230911-6553-4ACF-8EDF-212596AC64F6}" sibTransId="{06FAC6A1-04F6-411C-8646-E77D3E87F0E9}"/>
    <dgm:cxn modelId="{E0BF7A75-86E2-48DF-A551-FF3183721A13}" type="presOf" srcId="{14481059-F665-4874-A058-5D50460942A2}" destId="{0E7C7753-96D5-4E2E-A522-1F4E70DE8E4C}" srcOrd="0" destOrd="0" presId="urn:microsoft.com/office/officeart/2005/8/layout/vList5"/>
    <dgm:cxn modelId="{B512BB7A-71D5-4E5E-A4A1-29EC5B1EBA28}" type="presOf" srcId="{1CBB8B22-543B-4760-BDF6-E0121A345D09}" destId="{CAD15721-243C-40C3-999F-433D7FA87DBF}" srcOrd="0" destOrd="0" presId="urn:microsoft.com/office/officeart/2005/8/layout/vList5"/>
    <dgm:cxn modelId="{26940C93-5CC8-40D7-84B4-16E10B7A7A28}" type="presOf" srcId="{BEE026CA-7CD8-4E62-8E5B-D062DB920687}" destId="{8B842C5A-E2C6-431E-8F20-F5856D8E59F0}" srcOrd="0" destOrd="0" presId="urn:microsoft.com/office/officeart/2005/8/layout/vList5"/>
    <dgm:cxn modelId="{A1330E9C-6879-447A-9D4E-D4B871594638}" type="presOf" srcId="{44B60289-D05A-4DDE-91F6-2F30E070696F}" destId="{A3527EC8-E7DF-4BD4-B35A-AE4BBF211E54}" srcOrd="0" destOrd="0" presId="urn:microsoft.com/office/officeart/2005/8/layout/vList5"/>
    <dgm:cxn modelId="{3DA8309E-A56A-4402-A3E6-01C700BAA4CA}" srcId="{E4FD95EE-B774-490D-8E97-701E30118001}" destId="{9FC6CDAE-296B-46DB-ABDB-3EE9CF6ABE33}" srcOrd="4" destOrd="0" parTransId="{58C79CBD-68E9-4013-9FB3-D9380533FDBC}" sibTransId="{0D5606CE-CA74-434D-BAF9-C978A60DCEB8}"/>
    <dgm:cxn modelId="{C98309A0-B6EA-4B09-AE3E-81108070A509}" srcId="{E4FD95EE-B774-490D-8E97-701E30118001}" destId="{E25473DF-F8AC-4E49-B81B-8262B4D6F99D}" srcOrd="2" destOrd="0" parTransId="{22C4AA9E-FFF2-4E42-ADA1-5800FD55AD08}" sibTransId="{C58C717B-C1AF-4B0A-9489-25EE3B210061}"/>
    <dgm:cxn modelId="{376363A6-5ECE-4B03-A385-363B4F05C842}" srcId="{B56705CF-8069-4A2E-9E20-9D9ECC93971E}" destId="{BEE026CA-7CD8-4E62-8E5B-D062DB920687}" srcOrd="0" destOrd="0" parTransId="{8894A032-6B87-4924-A43F-2CF27206B844}" sibTransId="{87147A31-8C52-43EF-8421-FCD36D0201CD}"/>
    <dgm:cxn modelId="{B7EA02B6-2E15-44C0-9775-9FA2B2A7C2E7}" srcId="{7CF8A849-B40B-4051-AED6-6A60DDBE4BD8}" destId="{44B60289-D05A-4DDE-91F6-2F30E070696F}" srcOrd="0" destOrd="0" parTransId="{D2CD064B-3832-42EF-B11D-DAE3C55D0F18}" sibTransId="{02E9465D-8F16-4C68-82BC-98E5F04B5F14}"/>
    <dgm:cxn modelId="{7FCA8CBC-DC26-4659-877D-7F39C18EF7F2}" srcId="{14481059-F665-4874-A058-5D50460942A2}" destId="{6FA87CE9-AA18-4D72-B62E-1E11A4794014}" srcOrd="0" destOrd="0" parTransId="{455DED3C-3DD0-4F26-8A8E-9BF280AEBCD0}" sibTransId="{051DD5DC-1457-45BB-9E5F-B9969A93F3B1}"/>
    <dgm:cxn modelId="{E7F4B3C1-A730-40D1-A786-23A650733321}" srcId="{E4FD95EE-B774-490D-8E97-701E30118001}" destId="{1CBB8B22-543B-4760-BDF6-E0121A345D09}" srcOrd="0" destOrd="0" parTransId="{702395F1-3214-4F1B-80E9-52A085ACF2D0}" sibTransId="{12FD6F50-B043-4C89-9FC3-BE07FB334476}"/>
    <dgm:cxn modelId="{9C1401C6-6EC8-41A0-AFE9-0D3AC4DF0A6E}" type="presOf" srcId="{E4FD95EE-B774-490D-8E97-701E30118001}" destId="{592DFE08-4709-4C50-B44F-B06C1F1470C4}" srcOrd="0" destOrd="0" presId="urn:microsoft.com/office/officeart/2005/8/layout/vList5"/>
    <dgm:cxn modelId="{189345E5-2B8C-4344-8CD6-F827F1D2898D}" type="presOf" srcId="{7CF8A849-B40B-4051-AED6-6A60DDBE4BD8}" destId="{919C66B5-0047-42C8-8E7B-C421275AEA62}" srcOrd="0" destOrd="0" presId="urn:microsoft.com/office/officeart/2005/8/layout/vList5"/>
    <dgm:cxn modelId="{82BC59E7-B04C-48BB-8C1B-74328A36F06D}" type="presOf" srcId="{95F756A1-D061-4817-B9A1-19D70BD95E41}" destId="{12737982-84C8-4EBA-8391-9E523A882B05}" srcOrd="0" destOrd="0" presId="urn:microsoft.com/office/officeart/2005/8/layout/vList5"/>
    <dgm:cxn modelId="{FF0030E8-7F35-4940-A678-DF5A0E96AD4B}" type="presOf" srcId="{D3A17222-868D-4E23-90D5-F304144C7B53}" destId="{9C3C87A7-1183-4CA0-BC87-B19E787D2AF9}" srcOrd="0" destOrd="0" presId="urn:microsoft.com/office/officeart/2005/8/layout/vList5"/>
    <dgm:cxn modelId="{AAA4BCEB-6C4E-4CDA-9602-342BD46BDB87}" srcId="{1CBB8B22-543B-4760-BDF6-E0121A345D09}" destId="{D3A17222-868D-4E23-90D5-F304144C7B53}" srcOrd="0" destOrd="0" parTransId="{96001DED-AC54-445F-8A8C-2A26D076C7B3}" sibTransId="{BCF90028-988E-4936-894D-6DA24A32E1DE}"/>
    <dgm:cxn modelId="{D603E4ED-B620-46A3-8C46-4A1EBE34FD33}" type="presOf" srcId="{9FC6CDAE-296B-46DB-ABDB-3EE9CF6ABE33}" destId="{0B19BACA-6A1E-4FB5-956A-9FBD7ACCEC66}" srcOrd="0" destOrd="0" presId="urn:microsoft.com/office/officeart/2005/8/layout/vList5"/>
    <dgm:cxn modelId="{B05EB7F8-D47E-4D8B-838B-CE63C97D3157}" type="presOf" srcId="{6FA87CE9-AA18-4D72-B62E-1E11A4794014}" destId="{19F6FB13-3523-49AB-AC29-506EAA205605}" srcOrd="0" destOrd="0" presId="urn:microsoft.com/office/officeart/2005/8/layout/vList5"/>
    <dgm:cxn modelId="{1F991F71-27AC-439A-A744-F309467A837B}" type="presParOf" srcId="{592DFE08-4709-4C50-B44F-B06C1F1470C4}" destId="{0C70B2A9-913D-4E34-B397-8FA38C772219}" srcOrd="0" destOrd="0" presId="urn:microsoft.com/office/officeart/2005/8/layout/vList5"/>
    <dgm:cxn modelId="{1DFF0430-5F61-4835-ADCC-2E1E0FE2EBEF}" type="presParOf" srcId="{0C70B2A9-913D-4E34-B397-8FA38C772219}" destId="{CAD15721-243C-40C3-999F-433D7FA87DBF}" srcOrd="0" destOrd="0" presId="urn:microsoft.com/office/officeart/2005/8/layout/vList5"/>
    <dgm:cxn modelId="{4DD49572-9830-49F8-A219-ACEED5291CAD}" type="presParOf" srcId="{0C70B2A9-913D-4E34-B397-8FA38C772219}" destId="{9C3C87A7-1183-4CA0-BC87-B19E787D2AF9}" srcOrd="1" destOrd="0" presId="urn:microsoft.com/office/officeart/2005/8/layout/vList5"/>
    <dgm:cxn modelId="{DEC1885E-2524-4A6B-B127-F917360E14DD}" type="presParOf" srcId="{592DFE08-4709-4C50-B44F-B06C1F1470C4}" destId="{E279454B-61B2-4931-8DAA-C09BDA105EBD}" srcOrd="1" destOrd="0" presId="urn:microsoft.com/office/officeart/2005/8/layout/vList5"/>
    <dgm:cxn modelId="{E9310A34-406A-432F-8B84-D2BD2B6605F9}" type="presParOf" srcId="{592DFE08-4709-4C50-B44F-B06C1F1470C4}" destId="{4D763B4B-18E7-4251-8497-DEB18AAF6C14}" srcOrd="2" destOrd="0" presId="urn:microsoft.com/office/officeart/2005/8/layout/vList5"/>
    <dgm:cxn modelId="{D4BA278C-2C41-4B6D-8548-DA27576DAFAF}" type="presParOf" srcId="{4D763B4B-18E7-4251-8497-DEB18AAF6C14}" destId="{FBE7A222-B3F4-4EFB-B836-FE1FCCCF3059}" srcOrd="0" destOrd="0" presId="urn:microsoft.com/office/officeart/2005/8/layout/vList5"/>
    <dgm:cxn modelId="{ECFDD6F1-7EDF-4C9A-A873-EFB64477FC0A}" type="presParOf" srcId="{4D763B4B-18E7-4251-8497-DEB18AAF6C14}" destId="{8B842C5A-E2C6-431E-8F20-F5856D8E59F0}" srcOrd="1" destOrd="0" presId="urn:microsoft.com/office/officeart/2005/8/layout/vList5"/>
    <dgm:cxn modelId="{13BBB301-FD6A-4069-B589-97EE4D1F1D68}" type="presParOf" srcId="{592DFE08-4709-4C50-B44F-B06C1F1470C4}" destId="{3301CCE1-7FDF-4EB4-983E-8421EF5D7DE5}" srcOrd="3" destOrd="0" presId="urn:microsoft.com/office/officeart/2005/8/layout/vList5"/>
    <dgm:cxn modelId="{1DCF5998-70C5-4A57-9BC6-141CB1843DB8}" type="presParOf" srcId="{592DFE08-4709-4C50-B44F-B06C1F1470C4}" destId="{7E8435F8-92E8-4330-905D-2702D18F4108}" srcOrd="4" destOrd="0" presId="urn:microsoft.com/office/officeart/2005/8/layout/vList5"/>
    <dgm:cxn modelId="{5B66DF4F-FF83-4618-B301-B14E90B15030}" type="presParOf" srcId="{7E8435F8-92E8-4330-905D-2702D18F4108}" destId="{A1E08467-6E06-4ACE-B010-FEB1C229770A}" srcOrd="0" destOrd="0" presId="urn:microsoft.com/office/officeart/2005/8/layout/vList5"/>
    <dgm:cxn modelId="{AD35B139-6DCD-4891-9D4B-752D026F850A}" type="presParOf" srcId="{7E8435F8-92E8-4330-905D-2702D18F4108}" destId="{12737982-84C8-4EBA-8391-9E523A882B05}" srcOrd="1" destOrd="0" presId="urn:microsoft.com/office/officeart/2005/8/layout/vList5"/>
    <dgm:cxn modelId="{07D5C4F3-81C6-44F6-B5F7-38F83DCABB9F}" type="presParOf" srcId="{592DFE08-4709-4C50-B44F-B06C1F1470C4}" destId="{4AB0F295-4EEF-4F9A-ACF0-6A5059DEE25F}" srcOrd="5" destOrd="0" presId="urn:microsoft.com/office/officeart/2005/8/layout/vList5"/>
    <dgm:cxn modelId="{C3810C7E-9663-4FE3-9006-9A5EEF0864DA}" type="presParOf" srcId="{592DFE08-4709-4C50-B44F-B06C1F1470C4}" destId="{49D54C86-4F6D-444B-8C42-231CE2B83967}" srcOrd="6" destOrd="0" presId="urn:microsoft.com/office/officeart/2005/8/layout/vList5"/>
    <dgm:cxn modelId="{8C6156FF-8CEA-4047-A4C7-023D59287F84}" type="presParOf" srcId="{49D54C86-4F6D-444B-8C42-231CE2B83967}" destId="{919C66B5-0047-42C8-8E7B-C421275AEA62}" srcOrd="0" destOrd="0" presId="urn:microsoft.com/office/officeart/2005/8/layout/vList5"/>
    <dgm:cxn modelId="{9D12DB05-95A1-49D3-8F15-AD4964B54B74}" type="presParOf" srcId="{49D54C86-4F6D-444B-8C42-231CE2B83967}" destId="{A3527EC8-E7DF-4BD4-B35A-AE4BBF211E54}" srcOrd="1" destOrd="0" presId="urn:microsoft.com/office/officeart/2005/8/layout/vList5"/>
    <dgm:cxn modelId="{E28FDB90-A6CB-4699-91EC-7D43C2A00E82}" type="presParOf" srcId="{592DFE08-4709-4C50-B44F-B06C1F1470C4}" destId="{CB4F192B-4F4E-4D42-AA0F-0D82B70FC5CA}" srcOrd="7" destOrd="0" presId="urn:microsoft.com/office/officeart/2005/8/layout/vList5"/>
    <dgm:cxn modelId="{FBDDF6C4-9B39-447E-817E-8E960EB51724}" type="presParOf" srcId="{592DFE08-4709-4C50-B44F-B06C1F1470C4}" destId="{D912CD7C-BA70-41D0-9768-54064326BC1C}" srcOrd="8" destOrd="0" presId="urn:microsoft.com/office/officeart/2005/8/layout/vList5"/>
    <dgm:cxn modelId="{5A935D51-D9F7-45D7-8111-F6D044434AF4}" type="presParOf" srcId="{D912CD7C-BA70-41D0-9768-54064326BC1C}" destId="{0B19BACA-6A1E-4FB5-956A-9FBD7ACCEC66}" srcOrd="0" destOrd="0" presId="urn:microsoft.com/office/officeart/2005/8/layout/vList5"/>
    <dgm:cxn modelId="{CD521185-F3BD-49D7-B429-61E5EF5821D9}" type="presParOf" srcId="{D912CD7C-BA70-41D0-9768-54064326BC1C}" destId="{9FA97557-15A6-43F8-830E-235EF6CED38D}" srcOrd="1" destOrd="0" presId="urn:microsoft.com/office/officeart/2005/8/layout/vList5"/>
    <dgm:cxn modelId="{813A8B3D-9FF9-4F12-8BE4-B3027F699E09}" type="presParOf" srcId="{592DFE08-4709-4C50-B44F-B06C1F1470C4}" destId="{4F469327-3269-4E9D-9EED-3CFC98B7FEA9}" srcOrd="9" destOrd="0" presId="urn:microsoft.com/office/officeart/2005/8/layout/vList5"/>
    <dgm:cxn modelId="{349605F9-AEBF-4706-B167-56B646DC033D}" type="presParOf" srcId="{592DFE08-4709-4C50-B44F-B06C1F1470C4}" destId="{73911727-366A-4699-800A-C8B8FD3CA86C}" srcOrd="10" destOrd="0" presId="urn:microsoft.com/office/officeart/2005/8/layout/vList5"/>
    <dgm:cxn modelId="{5B09477C-683A-4B80-A079-99A427BFCE73}" type="presParOf" srcId="{73911727-366A-4699-800A-C8B8FD3CA86C}" destId="{0E7C7753-96D5-4E2E-A522-1F4E70DE8E4C}" srcOrd="0" destOrd="0" presId="urn:microsoft.com/office/officeart/2005/8/layout/vList5"/>
    <dgm:cxn modelId="{04391CFF-C283-4BB6-A509-85F7A81111CC}" type="presParOf" srcId="{73911727-366A-4699-800A-C8B8FD3CA86C}" destId="{19F6FB13-3523-49AB-AC29-506EAA205605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F448463-61BD-4B61-BF02-00F9208ABB71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</dgm:pt>
    <dgm:pt modelId="{FAC0EFC4-C371-4431-B50E-C4F67C7ADB99}">
      <dgm:prSet phldrT="[Text]"/>
      <dgm:spPr/>
      <dgm:t>
        <a:bodyPr/>
        <a:lstStyle/>
        <a:p>
          <a:r>
            <a:rPr lang="en-US" dirty="0"/>
            <a:t>Theme/Feature: Increase Website Traffic</a:t>
          </a:r>
        </a:p>
      </dgm:t>
    </dgm:pt>
    <dgm:pt modelId="{68D13A0B-83A3-4D2F-83A4-F84661CAD322}" type="parTrans" cxnId="{B3B46A0C-CFF9-4819-BAD3-B27A918B7026}">
      <dgm:prSet/>
      <dgm:spPr/>
      <dgm:t>
        <a:bodyPr/>
        <a:lstStyle/>
        <a:p>
          <a:endParaRPr lang="en-US"/>
        </a:p>
      </dgm:t>
    </dgm:pt>
    <dgm:pt modelId="{2AEA12C3-C4BF-4B18-AC30-E2C892E72A4E}" type="sibTrans" cxnId="{B3B46A0C-CFF9-4819-BAD3-B27A918B7026}">
      <dgm:prSet/>
      <dgm:spPr/>
      <dgm:t>
        <a:bodyPr/>
        <a:lstStyle/>
        <a:p>
          <a:endParaRPr lang="en-US"/>
        </a:p>
      </dgm:t>
    </dgm:pt>
    <dgm:pt modelId="{87C92303-9B6F-48A8-A65E-7CF7AA55B9D2}">
      <dgm:prSet phldrT="[Text]"/>
      <dgm:spPr/>
      <dgm:t>
        <a:bodyPr/>
        <a:lstStyle/>
        <a:p>
          <a:r>
            <a:rPr lang="en-US" dirty="0"/>
            <a:t>Epic: Improve User Login Page Usability</a:t>
          </a:r>
        </a:p>
      </dgm:t>
    </dgm:pt>
    <dgm:pt modelId="{5AEF404B-74FF-495C-805B-259E43EC9C46}" type="parTrans" cxnId="{20614C43-6F3E-41F4-A4CC-F83055858B4B}">
      <dgm:prSet/>
      <dgm:spPr/>
      <dgm:t>
        <a:bodyPr/>
        <a:lstStyle/>
        <a:p>
          <a:endParaRPr lang="en-US"/>
        </a:p>
      </dgm:t>
    </dgm:pt>
    <dgm:pt modelId="{CA4CF772-1AAD-44E3-B9BE-7C5777BDDC00}" type="sibTrans" cxnId="{20614C43-6F3E-41F4-A4CC-F83055858B4B}">
      <dgm:prSet/>
      <dgm:spPr/>
      <dgm:t>
        <a:bodyPr/>
        <a:lstStyle/>
        <a:p>
          <a:endParaRPr lang="en-US"/>
        </a:p>
      </dgm:t>
    </dgm:pt>
    <dgm:pt modelId="{6B2FAF35-18DB-4D4E-8319-1F415192A14C}">
      <dgm:prSet phldrT="[Text]"/>
      <dgm:spPr/>
      <dgm:t>
        <a:bodyPr/>
        <a:lstStyle/>
        <a:p>
          <a:r>
            <a:rPr lang="en-US" dirty="0"/>
            <a:t>Story 1: As a User, I would like the validation on the login page to be very clear so I know when I make a mistake </a:t>
          </a:r>
        </a:p>
      </dgm:t>
    </dgm:pt>
    <dgm:pt modelId="{D7EAF6A4-0A35-4223-A8E5-37B8B6E888E3}" type="parTrans" cxnId="{72F66BCA-1628-4F76-8F4E-3C08A0A3B736}">
      <dgm:prSet/>
      <dgm:spPr/>
      <dgm:t>
        <a:bodyPr/>
        <a:lstStyle/>
        <a:p>
          <a:endParaRPr lang="en-US"/>
        </a:p>
      </dgm:t>
    </dgm:pt>
    <dgm:pt modelId="{2A4BD79A-C050-42BD-B404-903005BC1A6B}" type="sibTrans" cxnId="{72F66BCA-1628-4F76-8F4E-3C08A0A3B736}">
      <dgm:prSet/>
      <dgm:spPr/>
      <dgm:t>
        <a:bodyPr/>
        <a:lstStyle/>
        <a:p>
          <a:endParaRPr lang="en-US"/>
        </a:p>
      </dgm:t>
    </dgm:pt>
    <dgm:pt modelId="{90A1D5A8-FF5E-4BDA-966C-650E723A17F0}" type="pres">
      <dgm:prSet presAssocID="{EF448463-61BD-4B61-BF02-00F9208ABB71}" presName="Name0" presStyleCnt="0">
        <dgm:presLayoutVars>
          <dgm:dir/>
          <dgm:animLvl val="lvl"/>
          <dgm:resizeHandles val="exact"/>
        </dgm:presLayoutVars>
      </dgm:prSet>
      <dgm:spPr/>
    </dgm:pt>
    <dgm:pt modelId="{C272FEBF-0408-45F8-947D-475E6FB7BDBD}" type="pres">
      <dgm:prSet presAssocID="{6B2FAF35-18DB-4D4E-8319-1F415192A14C}" presName="boxAndChildren" presStyleCnt="0"/>
      <dgm:spPr/>
    </dgm:pt>
    <dgm:pt modelId="{B832F44F-962F-4A8F-864C-844014831472}" type="pres">
      <dgm:prSet presAssocID="{6B2FAF35-18DB-4D4E-8319-1F415192A14C}" presName="parentTextBox" presStyleLbl="node1" presStyleIdx="0" presStyleCnt="3"/>
      <dgm:spPr/>
    </dgm:pt>
    <dgm:pt modelId="{984BBD01-6698-4827-B8C1-59E9D9DC2129}" type="pres">
      <dgm:prSet presAssocID="{CA4CF772-1AAD-44E3-B9BE-7C5777BDDC00}" presName="sp" presStyleCnt="0"/>
      <dgm:spPr/>
    </dgm:pt>
    <dgm:pt modelId="{CE0DE7B8-99F0-46A8-814F-1A90B04F728A}" type="pres">
      <dgm:prSet presAssocID="{87C92303-9B6F-48A8-A65E-7CF7AA55B9D2}" presName="arrowAndChildren" presStyleCnt="0"/>
      <dgm:spPr/>
    </dgm:pt>
    <dgm:pt modelId="{7925BCD8-CF5E-4EEB-A597-60DFFCBE007E}" type="pres">
      <dgm:prSet presAssocID="{87C92303-9B6F-48A8-A65E-7CF7AA55B9D2}" presName="parentTextArrow" presStyleLbl="node1" presStyleIdx="1" presStyleCnt="3"/>
      <dgm:spPr/>
    </dgm:pt>
    <dgm:pt modelId="{6CB54C5C-AC16-42E8-A864-C9DA02441EDA}" type="pres">
      <dgm:prSet presAssocID="{2AEA12C3-C4BF-4B18-AC30-E2C892E72A4E}" presName="sp" presStyleCnt="0"/>
      <dgm:spPr/>
    </dgm:pt>
    <dgm:pt modelId="{0A294EB9-7B5B-4E8D-9A91-1862439BB0EB}" type="pres">
      <dgm:prSet presAssocID="{FAC0EFC4-C371-4431-B50E-C4F67C7ADB99}" presName="arrowAndChildren" presStyleCnt="0"/>
      <dgm:spPr/>
    </dgm:pt>
    <dgm:pt modelId="{7BCAB96C-C79A-442A-82AA-CA5DFC872B6A}" type="pres">
      <dgm:prSet presAssocID="{FAC0EFC4-C371-4431-B50E-C4F67C7ADB99}" presName="parentTextArrow" presStyleLbl="node1" presStyleIdx="2" presStyleCnt="3"/>
      <dgm:spPr/>
    </dgm:pt>
  </dgm:ptLst>
  <dgm:cxnLst>
    <dgm:cxn modelId="{B3B46A0C-CFF9-4819-BAD3-B27A918B7026}" srcId="{EF448463-61BD-4B61-BF02-00F9208ABB71}" destId="{FAC0EFC4-C371-4431-B50E-C4F67C7ADB99}" srcOrd="0" destOrd="0" parTransId="{68D13A0B-83A3-4D2F-83A4-F84661CAD322}" sibTransId="{2AEA12C3-C4BF-4B18-AC30-E2C892E72A4E}"/>
    <dgm:cxn modelId="{DE509B2D-77D8-468A-B012-F2FA64D8C329}" type="presOf" srcId="{EF448463-61BD-4B61-BF02-00F9208ABB71}" destId="{90A1D5A8-FF5E-4BDA-966C-650E723A17F0}" srcOrd="0" destOrd="0" presId="urn:microsoft.com/office/officeart/2005/8/layout/process4"/>
    <dgm:cxn modelId="{20614C43-6F3E-41F4-A4CC-F83055858B4B}" srcId="{EF448463-61BD-4B61-BF02-00F9208ABB71}" destId="{87C92303-9B6F-48A8-A65E-7CF7AA55B9D2}" srcOrd="1" destOrd="0" parTransId="{5AEF404B-74FF-495C-805B-259E43EC9C46}" sibTransId="{CA4CF772-1AAD-44E3-B9BE-7C5777BDDC00}"/>
    <dgm:cxn modelId="{34697A7F-2CDE-42C5-81AC-361408DF1FB4}" type="presOf" srcId="{87C92303-9B6F-48A8-A65E-7CF7AA55B9D2}" destId="{7925BCD8-CF5E-4EEB-A597-60DFFCBE007E}" srcOrd="0" destOrd="0" presId="urn:microsoft.com/office/officeart/2005/8/layout/process4"/>
    <dgm:cxn modelId="{148D5BAA-5AE4-4CA9-B474-2716877C4220}" type="presOf" srcId="{6B2FAF35-18DB-4D4E-8319-1F415192A14C}" destId="{B832F44F-962F-4A8F-864C-844014831472}" srcOrd="0" destOrd="0" presId="urn:microsoft.com/office/officeart/2005/8/layout/process4"/>
    <dgm:cxn modelId="{72F66BCA-1628-4F76-8F4E-3C08A0A3B736}" srcId="{EF448463-61BD-4B61-BF02-00F9208ABB71}" destId="{6B2FAF35-18DB-4D4E-8319-1F415192A14C}" srcOrd="2" destOrd="0" parTransId="{D7EAF6A4-0A35-4223-A8E5-37B8B6E888E3}" sibTransId="{2A4BD79A-C050-42BD-B404-903005BC1A6B}"/>
    <dgm:cxn modelId="{B018ADDD-BA7F-40FB-A170-639C981FE11E}" type="presOf" srcId="{FAC0EFC4-C371-4431-B50E-C4F67C7ADB99}" destId="{7BCAB96C-C79A-442A-82AA-CA5DFC872B6A}" srcOrd="0" destOrd="0" presId="urn:microsoft.com/office/officeart/2005/8/layout/process4"/>
    <dgm:cxn modelId="{8665AF0B-05CF-4E0C-A107-F5EACDF6E9A6}" type="presParOf" srcId="{90A1D5A8-FF5E-4BDA-966C-650E723A17F0}" destId="{C272FEBF-0408-45F8-947D-475E6FB7BDBD}" srcOrd="0" destOrd="0" presId="urn:microsoft.com/office/officeart/2005/8/layout/process4"/>
    <dgm:cxn modelId="{03BB9038-176D-4EA1-B233-D0DE187B508C}" type="presParOf" srcId="{C272FEBF-0408-45F8-947D-475E6FB7BDBD}" destId="{B832F44F-962F-4A8F-864C-844014831472}" srcOrd="0" destOrd="0" presId="urn:microsoft.com/office/officeart/2005/8/layout/process4"/>
    <dgm:cxn modelId="{B1D5AC6A-3A0B-4336-8746-1284BE1AD946}" type="presParOf" srcId="{90A1D5A8-FF5E-4BDA-966C-650E723A17F0}" destId="{984BBD01-6698-4827-B8C1-59E9D9DC2129}" srcOrd="1" destOrd="0" presId="urn:microsoft.com/office/officeart/2005/8/layout/process4"/>
    <dgm:cxn modelId="{99C9B1A6-C4BC-42F3-8822-86596A58E4D5}" type="presParOf" srcId="{90A1D5A8-FF5E-4BDA-966C-650E723A17F0}" destId="{CE0DE7B8-99F0-46A8-814F-1A90B04F728A}" srcOrd="2" destOrd="0" presId="urn:microsoft.com/office/officeart/2005/8/layout/process4"/>
    <dgm:cxn modelId="{2C85C9A8-2A8C-4CA0-B952-F3FE910530AC}" type="presParOf" srcId="{CE0DE7B8-99F0-46A8-814F-1A90B04F728A}" destId="{7925BCD8-CF5E-4EEB-A597-60DFFCBE007E}" srcOrd="0" destOrd="0" presId="urn:microsoft.com/office/officeart/2005/8/layout/process4"/>
    <dgm:cxn modelId="{93F9F50F-E9F3-434B-BA05-D706A21D2581}" type="presParOf" srcId="{90A1D5A8-FF5E-4BDA-966C-650E723A17F0}" destId="{6CB54C5C-AC16-42E8-A864-C9DA02441EDA}" srcOrd="3" destOrd="0" presId="urn:microsoft.com/office/officeart/2005/8/layout/process4"/>
    <dgm:cxn modelId="{526011EB-B715-4DFA-B098-2922B102194D}" type="presParOf" srcId="{90A1D5A8-FF5E-4BDA-966C-650E723A17F0}" destId="{0A294EB9-7B5B-4E8D-9A91-1862439BB0EB}" srcOrd="4" destOrd="0" presId="urn:microsoft.com/office/officeart/2005/8/layout/process4"/>
    <dgm:cxn modelId="{DAED14B4-B9F9-403E-A565-AC3F885B0001}" type="presParOf" srcId="{0A294EB9-7B5B-4E8D-9A91-1862439BB0EB}" destId="{7BCAB96C-C79A-442A-82AA-CA5DFC872B6A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2069BE-759C-4427-A9D3-0D3FD2E9630B}">
      <dsp:nvSpPr>
        <dsp:cNvPr id="0" name=""/>
        <dsp:cNvSpPr/>
      </dsp:nvSpPr>
      <dsp:spPr>
        <a:xfrm rot="5400000">
          <a:off x="2699178" y="-1435304"/>
          <a:ext cx="615241" cy="364230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9063" lvl="1" indent="-119063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FontTx/>
            <a:buNone/>
          </a:pPr>
          <a:r>
            <a:rPr lang="en-US" sz="1100" b="1" kern="1200" dirty="0"/>
            <a:t>Our highest priority is to satisfy the customer through early and continuous delivery of valuable </a:t>
          </a:r>
          <a:r>
            <a:rPr lang="en-US" sz="1100" b="1" i="1" kern="1200" dirty="0"/>
            <a:t>product</a:t>
          </a:r>
          <a:r>
            <a:rPr lang="en-US" sz="1100" b="1" kern="1200" dirty="0"/>
            <a:t>.</a:t>
          </a:r>
        </a:p>
      </dsp:txBody>
      <dsp:txXfrm rot="-5400000">
        <a:off x="1185648" y="108260"/>
        <a:ext cx="3612268" cy="555173"/>
      </dsp:txXfrm>
    </dsp:sp>
    <dsp:sp modelId="{4C4AC72C-FD96-41FD-95EA-AF33DEAE70DB}">
      <dsp:nvSpPr>
        <dsp:cNvPr id="0" name=""/>
        <dsp:cNvSpPr/>
      </dsp:nvSpPr>
      <dsp:spPr>
        <a:xfrm>
          <a:off x="863147" y="1320"/>
          <a:ext cx="322500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</a:t>
          </a:r>
        </a:p>
      </dsp:txBody>
      <dsp:txXfrm>
        <a:off x="878890" y="17063"/>
        <a:ext cx="291014" cy="737565"/>
      </dsp:txXfrm>
    </dsp:sp>
    <dsp:sp modelId="{9E57236F-B173-4B8B-9112-0FF04743E0DE}">
      <dsp:nvSpPr>
        <dsp:cNvPr id="0" name=""/>
        <dsp:cNvSpPr/>
      </dsp:nvSpPr>
      <dsp:spPr>
        <a:xfrm rot="5400000">
          <a:off x="2699178" y="-627799"/>
          <a:ext cx="615241" cy="364230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FontTx/>
            <a:buNone/>
          </a:pPr>
          <a:r>
            <a:rPr lang="en-US" sz="1100" kern="1200" dirty="0"/>
            <a:t>Welcome changing requirements, even late in development. Agile processes harness change for the customer’s competitive advantage.</a:t>
          </a:r>
        </a:p>
      </dsp:txBody>
      <dsp:txXfrm rot="-5400000">
        <a:off x="1185648" y="915765"/>
        <a:ext cx="3612268" cy="555173"/>
      </dsp:txXfrm>
    </dsp:sp>
    <dsp:sp modelId="{FEEC1E37-7421-4C99-845B-37D3E74AC21D}">
      <dsp:nvSpPr>
        <dsp:cNvPr id="0" name=""/>
        <dsp:cNvSpPr/>
      </dsp:nvSpPr>
      <dsp:spPr>
        <a:xfrm>
          <a:off x="863147" y="808825"/>
          <a:ext cx="322500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2</a:t>
          </a:r>
        </a:p>
      </dsp:txBody>
      <dsp:txXfrm>
        <a:off x="878890" y="824568"/>
        <a:ext cx="291014" cy="737565"/>
      </dsp:txXfrm>
    </dsp:sp>
    <dsp:sp modelId="{FDB2123C-F804-4B3E-8F55-766925442666}">
      <dsp:nvSpPr>
        <dsp:cNvPr id="0" name=""/>
        <dsp:cNvSpPr/>
      </dsp:nvSpPr>
      <dsp:spPr>
        <a:xfrm rot="5400000">
          <a:off x="2699178" y="179704"/>
          <a:ext cx="615241" cy="364230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FontTx/>
            <a:buNone/>
          </a:pPr>
          <a:r>
            <a:rPr lang="en-US" sz="1100" b="1" kern="1200" dirty="0"/>
            <a:t>Deliver working </a:t>
          </a:r>
          <a:r>
            <a:rPr lang="en-US" sz="1100" b="1" i="1" kern="1200" dirty="0"/>
            <a:t>product</a:t>
          </a:r>
          <a:r>
            <a:rPr lang="en-US" sz="1100" b="1" i="0" kern="1200" dirty="0"/>
            <a:t> </a:t>
          </a:r>
          <a:r>
            <a:rPr lang="en-US" sz="1100" b="1" kern="1200" dirty="0"/>
            <a:t>frequently, from a couple of weeks to a couple of months, with a preference to the shorter timescale. </a:t>
          </a:r>
        </a:p>
      </dsp:txBody>
      <dsp:txXfrm rot="-5400000">
        <a:off x="1185648" y="1723268"/>
        <a:ext cx="3612268" cy="555173"/>
      </dsp:txXfrm>
    </dsp:sp>
    <dsp:sp modelId="{003FDC24-5AF6-4878-911C-DA05C9F446A6}">
      <dsp:nvSpPr>
        <dsp:cNvPr id="0" name=""/>
        <dsp:cNvSpPr/>
      </dsp:nvSpPr>
      <dsp:spPr>
        <a:xfrm>
          <a:off x="863147" y="1616329"/>
          <a:ext cx="322500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3</a:t>
          </a:r>
        </a:p>
      </dsp:txBody>
      <dsp:txXfrm>
        <a:off x="878890" y="1632072"/>
        <a:ext cx="291014" cy="737565"/>
      </dsp:txXfrm>
    </dsp:sp>
    <dsp:sp modelId="{E642A79A-BAB5-44C5-8F4C-252AFA7AA5B3}">
      <dsp:nvSpPr>
        <dsp:cNvPr id="0" name=""/>
        <dsp:cNvSpPr/>
      </dsp:nvSpPr>
      <dsp:spPr>
        <a:xfrm rot="5400000">
          <a:off x="2699178" y="987209"/>
          <a:ext cx="615241" cy="364230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b="1" kern="1200" dirty="0"/>
            <a:t>Business people and developers must work together daily throughout the project.</a:t>
          </a:r>
        </a:p>
      </dsp:txBody>
      <dsp:txXfrm rot="-5400000">
        <a:off x="1185648" y="2530773"/>
        <a:ext cx="3612268" cy="555173"/>
      </dsp:txXfrm>
    </dsp:sp>
    <dsp:sp modelId="{7A60988F-76E2-4BFC-A1A2-3F71F46568CA}">
      <dsp:nvSpPr>
        <dsp:cNvPr id="0" name=""/>
        <dsp:cNvSpPr/>
      </dsp:nvSpPr>
      <dsp:spPr>
        <a:xfrm>
          <a:off x="863147" y="2423834"/>
          <a:ext cx="322500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4</a:t>
          </a:r>
        </a:p>
      </dsp:txBody>
      <dsp:txXfrm>
        <a:off x="878890" y="2439577"/>
        <a:ext cx="291014" cy="737565"/>
      </dsp:txXfrm>
    </dsp:sp>
    <dsp:sp modelId="{98AD24BC-9E2A-4FE8-8DDB-31BC4C0904CC}">
      <dsp:nvSpPr>
        <dsp:cNvPr id="0" name=""/>
        <dsp:cNvSpPr/>
      </dsp:nvSpPr>
      <dsp:spPr>
        <a:xfrm rot="5400000">
          <a:off x="2699178" y="1794713"/>
          <a:ext cx="615241" cy="364230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kern="1200" dirty="0"/>
            <a:t>Build projects around motivated individuals.  Give them the environment and support they need, and trust them to get the job done.</a:t>
          </a:r>
        </a:p>
      </dsp:txBody>
      <dsp:txXfrm rot="-5400000">
        <a:off x="1185648" y="3338277"/>
        <a:ext cx="3612268" cy="555173"/>
      </dsp:txXfrm>
    </dsp:sp>
    <dsp:sp modelId="{3CF7222C-8A6A-4A67-8162-517CAEE9AB86}">
      <dsp:nvSpPr>
        <dsp:cNvPr id="0" name=""/>
        <dsp:cNvSpPr/>
      </dsp:nvSpPr>
      <dsp:spPr>
        <a:xfrm>
          <a:off x="863147" y="3231338"/>
          <a:ext cx="322500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5</a:t>
          </a:r>
        </a:p>
      </dsp:txBody>
      <dsp:txXfrm>
        <a:off x="878890" y="3247081"/>
        <a:ext cx="291014" cy="737565"/>
      </dsp:txXfrm>
    </dsp:sp>
    <dsp:sp modelId="{293A1193-90D9-49C0-8433-9DE0FBE7CD33}">
      <dsp:nvSpPr>
        <dsp:cNvPr id="0" name=""/>
        <dsp:cNvSpPr/>
      </dsp:nvSpPr>
      <dsp:spPr>
        <a:xfrm rot="5400000">
          <a:off x="2699178" y="2602218"/>
          <a:ext cx="615241" cy="364230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100" kern="1200" dirty="0"/>
            <a:t>The most efficient and effective method of conveying information to and within a development team is face-to-face conversation.</a:t>
          </a:r>
        </a:p>
      </dsp:txBody>
      <dsp:txXfrm rot="-5400000">
        <a:off x="1185648" y="4145782"/>
        <a:ext cx="3612268" cy="555173"/>
      </dsp:txXfrm>
    </dsp:sp>
    <dsp:sp modelId="{5B6A93DE-519D-4CA0-9B06-4E2B9BC13B60}">
      <dsp:nvSpPr>
        <dsp:cNvPr id="0" name=""/>
        <dsp:cNvSpPr/>
      </dsp:nvSpPr>
      <dsp:spPr>
        <a:xfrm>
          <a:off x="863147" y="4038843"/>
          <a:ext cx="322500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6</a:t>
          </a:r>
        </a:p>
      </dsp:txBody>
      <dsp:txXfrm>
        <a:off x="878890" y="4054586"/>
        <a:ext cx="291014" cy="73756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3C87A7-1183-4CA0-BC87-B19E787D2AF9}">
      <dsp:nvSpPr>
        <dsp:cNvPr id="0" name=""/>
        <dsp:cNvSpPr/>
      </dsp:nvSpPr>
      <dsp:spPr>
        <a:xfrm rot="5400000">
          <a:off x="2706281" y="-1439606"/>
          <a:ext cx="615241" cy="36509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b="1" kern="1200" dirty="0"/>
            <a:t>Working </a:t>
          </a:r>
          <a:r>
            <a:rPr lang="en-US" sz="1100" b="1" i="1" kern="1200" dirty="0"/>
            <a:t>product</a:t>
          </a:r>
          <a:r>
            <a:rPr lang="en-US" sz="1100" b="1" i="0" kern="1200" dirty="0"/>
            <a:t> </a:t>
          </a:r>
          <a:r>
            <a:rPr lang="en-US" sz="1100" b="1" kern="1200" dirty="0"/>
            <a:t>is the primary measure of progress.</a:t>
          </a:r>
        </a:p>
      </dsp:txBody>
      <dsp:txXfrm rot="-5400000">
        <a:off x="1188449" y="108260"/>
        <a:ext cx="3620872" cy="555173"/>
      </dsp:txXfrm>
    </dsp:sp>
    <dsp:sp modelId="{CAD15721-243C-40C3-999F-433D7FA87DBF}">
      <dsp:nvSpPr>
        <dsp:cNvPr id="0" name=""/>
        <dsp:cNvSpPr/>
      </dsp:nvSpPr>
      <dsp:spPr>
        <a:xfrm>
          <a:off x="865186" y="1320"/>
          <a:ext cx="323262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7</a:t>
          </a:r>
        </a:p>
      </dsp:txBody>
      <dsp:txXfrm>
        <a:off x="880966" y="17100"/>
        <a:ext cx="291702" cy="737491"/>
      </dsp:txXfrm>
    </dsp:sp>
    <dsp:sp modelId="{8B842C5A-E2C6-431E-8F20-F5856D8E59F0}">
      <dsp:nvSpPr>
        <dsp:cNvPr id="0" name=""/>
        <dsp:cNvSpPr/>
      </dsp:nvSpPr>
      <dsp:spPr>
        <a:xfrm rot="5400000">
          <a:off x="2706281" y="-632102"/>
          <a:ext cx="615241" cy="36509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kern="1200" dirty="0"/>
            <a:t>Agile processes promote sustainable development.  The sponsors, developers, and users should be able to maintain a constant pace indefinitely.</a:t>
          </a:r>
        </a:p>
      </dsp:txBody>
      <dsp:txXfrm rot="-5400000">
        <a:off x="1188449" y="915764"/>
        <a:ext cx="3620872" cy="555173"/>
      </dsp:txXfrm>
    </dsp:sp>
    <dsp:sp modelId="{FBE7A222-B3F4-4EFB-B836-FE1FCCCF3059}">
      <dsp:nvSpPr>
        <dsp:cNvPr id="0" name=""/>
        <dsp:cNvSpPr/>
      </dsp:nvSpPr>
      <dsp:spPr>
        <a:xfrm>
          <a:off x="865186" y="808825"/>
          <a:ext cx="323262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8</a:t>
          </a:r>
        </a:p>
      </dsp:txBody>
      <dsp:txXfrm>
        <a:off x="880966" y="824605"/>
        <a:ext cx="291702" cy="737491"/>
      </dsp:txXfrm>
    </dsp:sp>
    <dsp:sp modelId="{12737982-84C8-4EBA-8391-9E523A882B05}">
      <dsp:nvSpPr>
        <dsp:cNvPr id="0" name=""/>
        <dsp:cNvSpPr/>
      </dsp:nvSpPr>
      <dsp:spPr>
        <a:xfrm rot="5400000">
          <a:off x="2706281" y="175402"/>
          <a:ext cx="615241" cy="36509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b="1" kern="1200" dirty="0"/>
            <a:t>Continuous attention to technical excellence and good design enhances agility. </a:t>
          </a:r>
        </a:p>
      </dsp:txBody>
      <dsp:txXfrm rot="-5400000">
        <a:off x="1188449" y="1723268"/>
        <a:ext cx="3620872" cy="555173"/>
      </dsp:txXfrm>
    </dsp:sp>
    <dsp:sp modelId="{A1E08467-6E06-4ACE-B010-FEB1C229770A}">
      <dsp:nvSpPr>
        <dsp:cNvPr id="0" name=""/>
        <dsp:cNvSpPr/>
      </dsp:nvSpPr>
      <dsp:spPr>
        <a:xfrm>
          <a:off x="865186" y="1616329"/>
          <a:ext cx="323262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9</a:t>
          </a:r>
        </a:p>
      </dsp:txBody>
      <dsp:txXfrm>
        <a:off x="880966" y="1632109"/>
        <a:ext cx="291702" cy="737491"/>
      </dsp:txXfrm>
    </dsp:sp>
    <dsp:sp modelId="{A3527EC8-E7DF-4BD4-B35A-AE4BBF211E54}">
      <dsp:nvSpPr>
        <dsp:cNvPr id="0" name=""/>
        <dsp:cNvSpPr/>
      </dsp:nvSpPr>
      <dsp:spPr>
        <a:xfrm rot="5400000">
          <a:off x="2706281" y="982906"/>
          <a:ext cx="615241" cy="36509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kern="1200" dirty="0"/>
            <a:t>Simplicity – the art of maximizing the amount of work not done – is essential.</a:t>
          </a:r>
        </a:p>
      </dsp:txBody>
      <dsp:txXfrm rot="-5400000">
        <a:off x="1188449" y="2530772"/>
        <a:ext cx="3620872" cy="555173"/>
      </dsp:txXfrm>
    </dsp:sp>
    <dsp:sp modelId="{919C66B5-0047-42C8-8E7B-C421275AEA62}">
      <dsp:nvSpPr>
        <dsp:cNvPr id="0" name=""/>
        <dsp:cNvSpPr/>
      </dsp:nvSpPr>
      <dsp:spPr>
        <a:xfrm>
          <a:off x="865186" y="2423834"/>
          <a:ext cx="323262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0</a:t>
          </a:r>
        </a:p>
      </dsp:txBody>
      <dsp:txXfrm>
        <a:off x="880966" y="2439614"/>
        <a:ext cx="291702" cy="737491"/>
      </dsp:txXfrm>
    </dsp:sp>
    <dsp:sp modelId="{9FA97557-15A6-43F8-830E-235EF6CED38D}">
      <dsp:nvSpPr>
        <dsp:cNvPr id="0" name=""/>
        <dsp:cNvSpPr/>
      </dsp:nvSpPr>
      <dsp:spPr>
        <a:xfrm rot="5400000">
          <a:off x="2706281" y="1790411"/>
          <a:ext cx="615241" cy="36509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kern="1200" dirty="0"/>
            <a:t>The best architectures, requirements, and designs emerge from self-organizing teams.</a:t>
          </a:r>
        </a:p>
      </dsp:txBody>
      <dsp:txXfrm rot="-5400000">
        <a:off x="1188449" y="3338277"/>
        <a:ext cx="3620872" cy="555173"/>
      </dsp:txXfrm>
    </dsp:sp>
    <dsp:sp modelId="{0B19BACA-6A1E-4FB5-956A-9FBD7ACCEC66}">
      <dsp:nvSpPr>
        <dsp:cNvPr id="0" name=""/>
        <dsp:cNvSpPr/>
      </dsp:nvSpPr>
      <dsp:spPr>
        <a:xfrm>
          <a:off x="865186" y="3231338"/>
          <a:ext cx="323262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1</a:t>
          </a:r>
        </a:p>
      </dsp:txBody>
      <dsp:txXfrm>
        <a:off x="880966" y="3247118"/>
        <a:ext cx="291702" cy="737491"/>
      </dsp:txXfrm>
    </dsp:sp>
    <dsp:sp modelId="{19F6FB13-3523-49AB-AC29-506EAA205605}">
      <dsp:nvSpPr>
        <dsp:cNvPr id="0" name=""/>
        <dsp:cNvSpPr/>
      </dsp:nvSpPr>
      <dsp:spPr>
        <a:xfrm rot="5400000">
          <a:off x="2706281" y="2597915"/>
          <a:ext cx="615241" cy="36509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123825" rIns="91440" bIns="123825" numCol="1" spcCol="1270" anchor="ctr" anchorCtr="0">
          <a:noAutofit/>
        </a:bodyPr>
        <a:lstStyle/>
        <a:p>
          <a:pPr marL="114300" lvl="1" indent="-114300" algn="l" defTabSz="4889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b="1" kern="1200" dirty="0"/>
            <a:t>At regular intervals, the team reflects on how to become more effective, then tunes and adjusts its behavior accordingly.</a:t>
          </a:r>
        </a:p>
      </dsp:txBody>
      <dsp:txXfrm rot="-5400000">
        <a:off x="1188449" y="4145781"/>
        <a:ext cx="3620872" cy="555173"/>
      </dsp:txXfrm>
    </dsp:sp>
    <dsp:sp modelId="{0E7C7753-96D5-4E2E-A522-1F4E70DE8E4C}">
      <dsp:nvSpPr>
        <dsp:cNvPr id="0" name=""/>
        <dsp:cNvSpPr/>
      </dsp:nvSpPr>
      <dsp:spPr>
        <a:xfrm>
          <a:off x="865186" y="4038843"/>
          <a:ext cx="323262" cy="76905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2</a:t>
          </a:r>
        </a:p>
      </dsp:txBody>
      <dsp:txXfrm>
        <a:off x="880966" y="4054623"/>
        <a:ext cx="291702" cy="73749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32F44F-962F-4A8F-864C-844014831472}">
      <dsp:nvSpPr>
        <dsp:cNvPr id="0" name=""/>
        <dsp:cNvSpPr/>
      </dsp:nvSpPr>
      <dsp:spPr>
        <a:xfrm>
          <a:off x="0" y="2579708"/>
          <a:ext cx="2133602" cy="8467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tory 1: As a User, I would like the validation on the login page to be very clear so I know when I make a mistake </a:t>
          </a:r>
        </a:p>
      </dsp:txBody>
      <dsp:txXfrm>
        <a:off x="0" y="2579708"/>
        <a:ext cx="2133602" cy="846717"/>
      </dsp:txXfrm>
    </dsp:sp>
    <dsp:sp modelId="{7925BCD8-CF5E-4EEB-A597-60DFFCBE007E}">
      <dsp:nvSpPr>
        <dsp:cNvPr id="0" name=""/>
        <dsp:cNvSpPr/>
      </dsp:nvSpPr>
      <dsp:spPr>
        <a:xfrm rot="10800000">
          <a:off x="0" y="1290157"/>
          <a:ext cx="2133602" cy="1302252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pic: Improve User Login Page Usability</a:t>
          </a:r>
        </a:p>
      </dsp:txBody>
      <dsp:txXfrm rot="10800000">
        <a:off x="0" y="1290157"/>
        <a:ext cx="2133602" cy="846164"/>
      </dsp:txXfrm>
    </dsp:sp>
    <dsp:sp modelId="{7BCAB96C-C79A-442A-82AA-CA5DFC872B6A}">
      <dsp:nvSpPr>
        <dsp:cNvPr id="0" name=""/>
        <dsp:cNvSpPr/>
      </dsp:nvSpPr>
      <dsp:spPr>
        <a:xfrm rot="10800000">
          <a:off x="0" y="605"/>
          <a:ext cx="2133602" cy="1302252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heme/Feature: Increase Website Traffic</a:t>
          </a:r>
        </a:p>
      </dsp:txBody>
      <dsp:txXfrm rot="10800000">
        <a:off x="0" y="605"/>
        <a:ext cx="2133602" cy="8461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84B3296-1FE6-46DA-A270-3FD7285D5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64E20C-7ACF-4A37-AE6D-D6892A6EAED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ECD6D-CECA-4548-9F58-A92FE7523251}" type="datetimeFigureOut">
              <a:rPr lang="en-US" smtClean="0"/>
              <a:t>10/1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5B0123-C201-4153-A290-8AFFC26EEA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5F99ED-E506-471A-8A31-AD601192E56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E894F3-F881-40CB-9367-34FC19BEA8C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5402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76F258-D51A-4F0C-960D-77140547990D}" type="datetimeFigureOut">
              <a:rPr lang="en-US" smtClean="0"/>
              <a:t>10/1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FFE26A-2286-4A67-90D3-7BA8757C37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696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7889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eadership clears the pa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rogram managers coordinate across teams and initiativ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akeholders provide vision and direction for the product(s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9952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81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lan multiple sprints.</a:t>
            </a:r>
          </a:p>
        </p:txBody>
      </p:sp>
    </p:spTree>
    <p:extLst>
      <p:ext uri="{BB962C8B-B14F-4D97-AF65-F5344CB8AC3E}">
        <p14:creationId xmlns:p14="http://schemas.microsoft.com/office/powerpoint/2010/main" val="516304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lan the sprint.</a:t>
            </a:r>
          </a:p>
        </p:txBody>
      </p:sp>
    </p:spTree>
    <p:extLst>
      <p:ext uri="{BB962C8B-B14F-4D97-AF65-F5344CB8AC3E}">
        <p14:creationId xmlns:p14="http://schemas.microsoft.com/office/powerpoint/2010/main" val="25564677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lan the day.</a:t>
            </a:r>
          </a:p>
          <a:p>
            <a:r>
              <a:rPr lang="en-US" dirty="0"/>
              <a:t>Whole team should be present</a:t>
            </a:r>
          </a:p>
          <a:p>
            <a:r>
              <a:rPr lang="en-US" dirty="0"/>
              <a:t>Others not recommended, but can attend if they follow the rules</a:t>
            </a:r>
          </a:p>
        </p:txBody>
      </p:sp>
    </p:spTree>
    <p:extLst>
      <p:ext uri="{BB962C8B-B14F-4D97-AF65-F5344CB8AC3E}">
        <p14:creationId xmlns:p14="http://schemas.microsoft.com/office/powerpoint/2010/main" val="3799416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epare work for future sprints.</a:t>
            </a:r>
          </a:p>
        </p:txBody>
      </p:sp>
    </p:spTree>
    <p:extLst>
      <p:ext uri="{BB962C8B-B14F-4D97-AF65-F5344CB8AC3E}">
        <p14:creationId xmlns:p14="http://schemas.microsoft.com/office/powerpoint/2010/main" val="1228302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pect the product increment and gain feedback.</a:t>
            </a:r>
          </a:p>
        </p:txBody>
      </p:sp>
    </p:spTree>
    <p:extLst>
      <p:ext uri="{BB962C8B-B14F-4D97-AF65-F5344CB8AC3E}">
        <p14:creationId xmlns:p14="http://schemas.microsoft.com/office/powerpoint/2010/main" val="9375501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we get better?</a:t>
            </a:r>
          </a:p>
          <a:p>
            <a:endParaRPr lang="en-US" dirty="0"/>
          </a:p>
          <a:p>
            <a:r>
              <a:rPr lang="en-US" dirty="0"/>
              <a:t>Must be a safe meeting (able to say what needs to be said).</a:t>
            </a:r>
          </a:p>
          <a:p>
            <a:endParaRPr lang="en-US" dirty="0"/>
          </a:p>
          <a:p>
            <a:r>
              <a:rPr lang="en-US" dirty="0"/>
              <a:t>What worked well?</a:t>
            </a:r>
          </a:p>
          <a:p>
            <a:pPr lvl="1"/>
            <a:r>
              <a:rPr lang="en-US" dirty="0"/>
              <a:t>Focus on the team, not the product</a:t>
            </a:r>
          </a:p>
          <a:p>
            <a:r>
              <a:rPr lang="en-US" dirty="0"/>
              <a:t>What did not work well?</a:t>
            </a:r>
          </a:p>
          <a:p>
            <a:pPr lvl="1"/>
            <a:r>
              <a:rPr lang="en-US" dirty="0"/>
              <a:t>Recognize failed attempts to improve</a:t>
            </a:r>
          </a:p>
          <a:p>
            <a:pPr lvl="1"/>
            <a:r>
              <a:rPr lang="en-US" dirty="0"/>
              <a:t>Identify performance impediments</a:t>
            </a:r>
          </a:p>
          <a:p>
            <a:r>
              <a:rPr lang="en-US" dirty="0"/>
              <a:t>What will we improve?</a:t>
            </a:r>
          </a:p>
          <a:p>
            <a:pPr lvl="1"/>
            <a:r>
              <a:rPr lang="en-US" dirty="0"/>
              <a:t>Keep a backlog</a:t>
            </a:r>
          </a:p>
          <a:p>
            <a:pPr lvl="1"/>
            <a:r>
              <a:rPr lang="en-US" dirty="0"/>
              <a:t>Iterate – choose just a few items per iteration</a:t>
            </a:r>
          </a:p>
          <a:p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41650009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ries of recurring meetings on a cadence</a:t>
            </a:r>
          </a:p>
          <a:p>
            <a:r>
              <a:rPr lang="en-US" dirty="0"/>
              <a:t>Refinement meetings can be more or less, depending on the quality of the backlog</a:t>
            </a:r>
          </a:p>
        </p:txBody>
      </p:sp>
    </p:spTree>
    <p:extLst>
      <p:ext uri="{BB962C8B-B14F-4D97-AF65-F5344CB8AC3E}">
        <p14:creationId xmlns:p14="http://schemas.microsoft.com/office/powerpoint/2010/main" val="36340760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b="0" dirty="0"/>
              <a:t>The vision helps set high-level expectations for the stakeholders and the team.</a:t>
            </a:r>
          </a:p>
          <a:p>
            <a:endParaRPr lang="en-CA" b="0" dirty="0"/>
          </a:p>
          <a:p>
            <a:r>
              <a:rPr lang="en-CA" b="0" dirty="0"/>
              <a:t>The vision should express:</a:t>
            </a:r>
          </a:p>
          <a:p>
            <a:pPr marL="362480" indent="-362480">
              <a:buFont typeface="Arial" panose="020B0604020202020204" pitchFamily="34" charset="0"/>
              <a:buChar char="•"/>
            </a:pPr>
            <a:r>
              <a:rPr lang="en-CA" b="0" dirty="0"/>
              <a:t>Who is going to buy the product? Who is going to use the product?</a:t>
            </a:r>
          </a:p>
          <a:p>
            <a:pPr marL="362480" indent="-362480">
              <a:buFont typeface="Arial" panose="020B0604020202020204" pitchFamily="34" charset="0"/>
              <a:buChar char="•"/>
            </a:pPr>
            <a:r>
              <a:rPr lang="en-CA" b="0" dirty="0"/>
              <a:t>What needs will the product address?</a:t>
            </a:r>
            <a:endParaRPr lang="en-US" b="0" dirty="0"/>
          </a:p>
          <a:p>
            <a:pPr marL="362480" indent="-362480">
              <a:buFont typeface="Arial" panose="020B0604020202020204" pitchFamily="34" charset="0"/>
              <a:buChar char="•"/>
            </a:pPr>
            <a:r>
              <a:rPr lang="en-US" b="0" dirty="0"/>
              <a:t>What differentiates the product from its competitors?</a:t>
            </a:r>
          </a:p>
          <a:p>
            <a:pPr marL="362480" indent="-362480">
              <a:buFont typeface="Arial" panose="020B0604020202020204" pitchFamily="34" charset="0"/>
              <a:buChar char="•"/>
            </a:pPr>
            <a:r>
              <a:rPr lang="en-US" b="0" dirty="0"/>
              <a:t>What are the key attributes of the product?</a:t>
            </a:r>
            <a:endParaRPr lang="en-CA" b="0" dirty="0"/>
          </a:p>
          <a:p>
            <a:endParaRPr lang="en-US" dirty="0"/>
          </a:p>
          <a:p>
            <a:r>
              <a:rPr lang="en-US" dirty="0"/>
              <a:t>Exercise:</a:t>
            </a:r>
          </a:p>
          <a:p>
            <a:r>
              <a:rPr lang="en-US" dirty="0"/>
              <a:t>Build your product vision.</a:t>
            </a:r>
          </a:p>
        </p:txBody>
      </p:sp>
    </p:spTree>
    <p:extLst>
      <p:ext uri="{BB962C8B-B14F-4D97-AF65-F5344CB8AC3E}">
        <p14:creationId xmlns:p14="http://schemas.microsoft.com/office/powerpoint/2010/main" val="3529813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1903"/>
              </a:spcAft>
            </a:pPr>
            <a:r>
              <a:rPr lang="en-US" sz="11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rcise:</a:t>
            </a:r>
          </a:p>
          <a:p>
            <a:pPr marL="362480" indent="-362480">
              <a:spcBef>
                <a:spcPts val="0"/>
              </a:spcBef>
              <a:spcAft>
                <a:spcPts val="1903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ak into groups</a:t>
            </a:r>
          </a:p>
          <a:p>
            <a:pPr marL="362480" indent="-362480">
              <a:spcBef>
                <a:spcPts val="0"/>
              </a:spcBef>
              <a:spcAft>
                <a:spcPts val="1903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 a team, select 3-4 principles that resonate with you</a:t>
            </a:r>
          </a:p>
          <a:p>
            <a:pPr marL="362480" indent="-362480">
              <a:spcBef>
                <a:spcPts val="0"/>
              </a:spcBef>
              <a:spcAft>
                <a:spcPts val="1903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 prepared to discuss with the clas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272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Exercise</a:t>
            </a:r>
            <a:r>
              <a:rPr lang="en-US" dirty="0"/>
              <a:t>:</a:t>
            </a:r>
          </a:p>
          <a:p>
            <a:r>
              <a:rPr lang="en-US" dirty="0"/>
              <a:t>Brainstorming</a:t>
            </a:r>
          </a:p>
        </p:txBody>
      </p:sp>
    </p:spTree>
    <p:extLst>
      <p:ext uri="{BB962C8B-B14F-4D97-AF65-F5344CB8AC3E}">
        <p14:creationId xmlns:p14="http://schemas.microsoft.com/office/powerpoint/2010/main" val="5515852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0613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70700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For the team to deliver a user story, it must “fit” into a Sprint.</a:t>
            </a:r>
          </a:p>
          <a:p>
            <a:pPr marL="362480" indent="-362480">
              <a:buFont typeface="Arial" panose="020B0604020202020204" pitchFamily="34" charset="0"/>
              <a:buChar char="•"/>
            </a:pPr>
            <a:r>
              <a:rPr lang="en-US" b="0" dirty="0"/>
              <a:t>Splitting and slicing a user story into “bite-sized pieces”</a:t>
            </a:r>
          </a:p>
          <a:p>
            <a:pPr marL="362480" indent="-362480">
              <a:buFont typeface="Arial" panose="020B0604020202020204" pitchFamily="34" charset="0"/>
              <a:buChar char="•"/>
            </a:pPr>
            <a:r>
              <a:rPr lang="en-US" b="0" dirty="0"/>
              <a:t>Ensuring a story is “Ready”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00931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Exercise:</a:t>
            </a:r>
          </a:p>
          <a:p>
            <a:r>
              <a:rPr lang="en-US" dirty="0"/>
              <a:t>Break into teams and roadmap your product.</a:t>
            </a: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44861991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727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7981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4830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30937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637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80152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Similar to tollgate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Don’t take a story into the sprint unless it meets the DoR – or is an emergency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Stories are not considered complete until they meet the DoD and the acceptance criteria</a:t>
            </a:r>
          </a:p>
        </p:txBody>
      </p:sp>
    </p:spTree>
    <p:extLst>
      <p:ext uri="{BB962C8B-B14F-4D97-AF65-F5344CB8AC3E}">
        <p14:creationId xmlns:p14="http://schemas.microsoft.com/office/powerpoint/2010/main" val="366453805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0420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84205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94080" y="4880610"/>
            <a:ext cx="2763520" cy="3852359"/>
          </a:xfrm>
          <a:solidFill>
            <a:schemeClr val="bg1"/>
          </a:solidFill>
        </p:spPr>
        <p:txBody>
          <a:bodyPr/>
          <a:lstStyle/>
          <a:p>
            <a:pPr marL="0" lvl="2" indent="0"/>
            <a:r>
              <a:rPr lang="en-US" b="1" dirty="0"/>
              <a:t>Relative Estimating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Based on Size and Complexity, not time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riangulate with other known factors</a:t>
            </a:r>
          </a:p>
          <a:p>
            <a:pPr lvl="1"/>
            <a:r>
              <a:rPr lang="en-US" dirty="0"/>
              <a:t>Smaller stories</a:t>
            </a:r>
          </a:p>
          <a:p>
            <a:pPr lvl="1"/>
            <a:r>
              <a:rPr lang="en-US" dirty="0"/>
              <a:t>Similar stories</a:t>
            </a:r>
          </a:p>
          <a:p>
            <a:pPr lvl="1"/>
            <a:r>
              <a:rPr lang="en-US" dirty="0"/>
              <a:t>Larger stories</a:t>
            </a:r>
          </a:p>
          <a:p>
            <a:pPr lvl="2"/>
            <a:r>
              <a:rPr lang="en-US" dirty="0"/>
              <a:t>Story Point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Abstract unit of measure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Derived collaboratively by the team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Pure measure of size – “this is like that”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Estimating in story points is typically faster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Not an infinite scale</a:t>
            </a:r>
          </a:p>
          <a:p>
            <a:pPr lvl="1"/>
            <a:r>
              <a:rPr lang="en-US" dirty="0"/>
              <a:t>Fibonacci (ish): 1, 2, 3, 5, 8, 13, 20, 40, 100</a:t>
            </a:r>
          </a:p>
          <a:p>
            <a:pPr lvl="1"/>
            <a:r>
              <a:rPr lang="en-US" dirty="0"/>
              <a:t>Doubling:  1, 2, 4, 8, 16, 32, 64, 128</a:t>
            </a: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7" name="Notes Placeholder 2"/>
          <p:cNvSpPr txBox="1">
            <a:spLocks/>
          </p:cNvSpPr>
          <p:nvPr/>
        </p:nvSpPr>
        <p:spPr bwMode="auto">
          <a:xfrm>
            <a:off x="3738880" y="4880610"/>
            <a:ext cx="2763520" cy="40538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2157" tIns="51079" rIns="102157" bIns="51079" numCol="1" anchor="t" anchorCtr="0" compatLnSpc="1">
            <a:prstTxWarp prst="textNoShape">
              <a:avLst/>
            </a:prstTxWarp>
          </a:bodyPr>
          <a:lstStyle>
            <a:lvl1pPr marL="0" algn="l" defTabSz="914400" rtl="0" eaLnBrk="1" latinLnBrk="0" hangingPunct="1">
              <a:spcBef>
                <a:spcPts val="240"/>
              </a:spcBef>
              <a:spcAft>
                <a:spcPts val="24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2" indent="-171450" algn="l" defTabSz="914400" rtl="0" eaLnBrk="1" latinLnBrk="0" hangingPunct="1">
              <a:spcBef>
                <a:spcPts val="360"/>
              </a:spcBef>
              <a:spcAft>
                <a:spcPts val="360"/>
              </a:spcAft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1430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Notes:</a:t>
            </a:r>
          </a:p>
          <a:p>
            <a:r>
              <a:rPr lang="en-US" dirty="0"/>
              <a:t>T-Shirt Sizing</a:t>
            </a:r>
          </a:p>
          <a:p>
            <a:r>
              <a:rPr lang="en-US" dirty="0"/>
              <a:t>T-Shirt Size</a:t>
            </a:r>
          </a:p>
          <a:p>
            <a:r>
              <a:rPr lang="en-US" b="1" dirty="0"/>
              <a:t>Points</a:t>
            </a:r>
          </a:p>
          <a:p>
            <a:r>
              <a:rPr lang="en-US" b="1" dirty="0"/>
              <a:t>X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1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2</a:t>
            </a:r>
          </a:p>
          <a:p>
            <a:r>
              <a:rPr lang="en-US" b="1" dirty="0"/>
              <a:t>M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3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L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5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XL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8</a:t>
            </a:r>
          </a:p>
          <a:p>
            <a:r>
              <a:rPr lang="en-US" b="1" dirty="0"/>
              <a:t>Small Epic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13</a:t>
            </a:r>
          </a:p>
          <a:p>
            <a:r>
              <a:rPr lang="en-US" b="1" dirty="0"/>
              <a:t>Medium Epic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20</a:t>
            </a:r>
          </a:p>
          <a:p>
            <a:r>
              <a:rPr lang="en-US" b="1" dirty="0"/>
              <a:t>Large Epic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40</a:t>
            </a:r>
          </a:p>
          <a:p>
            <a:br>
              <a:rPr lang="en-US" dirty="0"/>
            </a:br>
            <a:r>
              <a:rPr lang="en-US" dirty="0"/>
              <a:t>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49115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44199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ust equate t-shirts to actual numbers.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ample: XS=1, S=3, M=5, L=8, XL=13, etc.</a:t>
            </a:r>
          </a:p>
        </p:txBody>
      </p:sp>
    </p:spTree>
    <p:extLst>
      <p:ext uri="{BB962C8B-B14F-4D97-AF65-F5344CB8AC3E}">
        <p14:creationId xmlns:p14="http://schemas.microsoft.com/office/powerpoint/2010/main" val="171065214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2E7B3CA2-3F33-41EF-9581-EC51AEB1D0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17673877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92109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1DFA2F-9DBC-4BBA-931F-513BDAA995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Exercise:</a:t>
            </a:r>
          </a:p>
          <a:p>
            <a:r>
              <a:rPr lang="en-US" dirty="0"/>
              <a:t>What metrics do you use today and why?</a:t>
            </a: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9937305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1884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174031237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77186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4284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ercise:</a:t>
            </a:r>
          </a:p>
          <a:p>
            <a:r>
              <a:rPr lang="en-US" dirty="0"/>
              <a:t>Instructor will provide instructions.</a:t>
            </a:r>
          </a:p>
          <a:p>
            <a:endParaRPr lang="en-US" dirty="0"/>
          </a:p>
          <a:p>
            <a:r>
              <a:rPr lang="en-US" dirty="0"/>
              <a:t>Pull systems reduce multi-tasking by allowing the team member to take on another task only when the first is completed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D272B09-AF4A-44EC-9872-FC482A3411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6588729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12800" y="4948742"/>
            <a:ext cx="5652480" cy="4012379"/>
          </a:xfrm>
          <a:solidFill>
            <a:schemeClr val="bg1"/>
          </a:solidFill>
        </p:spPr>
        <p:txBody>
          <a:bodyPr/>
          <a:lstStyle/>
          <a:p>
            <a:pPr marL="0" lvl="1" indent="0">
              <a:buNone/>
            </a:pPr>
            <a:r>
              <a:rPr lang="en-US" sz="1300" b="1" dirty="0"/>
              <a:t>Scrum as a Framework</a:t>
            </a:r>
          </a:p>
          <a:p>
            <a:r>
              <a:rPr lang="en-US" b="1" dirty="0"/>
              <a:t>Some Vocabulary: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Backlog Item:</a:t>
            </a:r>
            <a:r>
              <a:rPr lang="en-US" dirty="0"/>
              <a:t> An incremental unit of work delivered to a potentially shippable state during the course of a Sprint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Sprint: </a:t>
            </a:r>
            <a:r>
              <a:rPr lang="en-US" dirty="0"/>
              <a:t>A predefined 1-4 week period within which work gets completed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Potentially Shippable:</a:t>
            </a:r>
            <a:r>
              <a:rPr lang="en-US" dirty="0"/>
              <a:t> The ability at the end of each sprint to introduce whatever was built into a production environment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Shippable:</a:t>
            </a:r>
            <a:r>
              <a:rPr lang="en-US" dirty="0"/>
              <a:t> The ability to place a feature rich Minimal Viable Product into the hands of the consumer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MVP:</a:t>
            </a:r>
            <a:r>
              <a:rPr lang="en-US" dirty="0"/>
              <a:t> Minimal Viable Product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Backlog Item </a:t>
            </a:r>
            <a:r>
              <a:rPr lang="en-US" dirty="0"/>
              <a:t>= Story = User Story = Feature = Requirement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Sprint</a:t>
            </a:r>
            <a:r>
              <a:rPr lang="en-US" dirty="0"/>
              <a:t> = Iteration = Timebox = Window</a:t>
            </a:r>
          </a:p>
          <a:p>
            <a:r>
              <a:rPr lang="en-US" b="1" dirty="0"/>
              <a:t>Roles: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Product Owner</a:t>
            </a:r>
            <a:r>
              <a:rPr lang="en-US" dirty="0"/>
              <a:t>: Owns the vision, backlog content and priority  (Build the right thing)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Team</a:t>
            </a:r>
            <a:r>
              <a:rPr lang="en-US" dirty="0"/>
              <a:t>: People doing the work.  Own the product increment/delivery (Build it right)</a:t>
            </a:r>
          </a:p>
          <a:p>
            <a:pPr marL="602454" lvl="1" indent="-181240">
              <a:buFont typeface="Arial" panose="020B0604020202020204" pitchFamily="34" charset="0"/>
              <a:buChar char="•"/>
            </a:pPr>
            <a:r>
              <a:rPr lang="en-US" b="1" dirty="0"/>
              <a:t>Scrum Master</a:t>
            </a:r>
            <a:r>
              <a:rPr lang="en-US" dirty="0"/>
              <a:t>: Process champion, facilitator, team coach (Build it fast)</a:t>
            </a:r>
          </a:p>
          <a:p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41087102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12800" y="4880610"/>
            <a:ext cx="5770880" cy="4000500"/>
          </a:xfrm>
          <a:solidFill>
            <a:schemeClr val="bg1"/>
          </a:solidFill>
        </p:spPr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Small Teams: 7 +/- 2</a:t>
            </a:r>
          </a:p>
          <a:p>
            <a:pPr marL="181240" indent="-181240" defTabSz="966612">
              <a:spcBef>
                <a:spcPts val="254"/>
              </a:spcBef>
              <a:spcAft>
                <a:spcPts val="254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Roles: Product Owner, Scrum Master, Team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eam members have complementary skill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Committed to a common purpose “shared ownership”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Create a shared vision for the team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Set realistic goal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Limit team size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Build a sense of team identity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Provide strong leadership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hey are self-organizing, rather than role or title based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hey are empowered to make a decision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hey truly believe that, as a team, they can solve any problem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hey are committed to team success vs. success at any cost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he team owns its decisions and commitment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rust vs. fear or anger motivates them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hey are consensus-driven with full divergence and then convergence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dirty="0"/>
              <a:t>They live in a world of constructive disagreement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1" dirty="0"/>
              <a:t>Team morale is a velocity multiplier</a:t>
            </a: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5918304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12800" y="4880610"/>
            <a:ext cx="5770880" cy="4000500"/>
          </a:xfrm>
          <a:solidFill>
            <a:schemeClr val="bg1"/>
          </a:solidFill>
        </p:spPr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1400093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12800" y="4880610"/>
            <a:ext cx="5770880" cy="4000500"/>
          </a:xfrm>
          <a:solidFill>
            <a:schemeClr val="bg1"/>
          </a:solidFill>
        </p:spPr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" y="720725"/>
            <a:ext cx="7202488" cy="4052888"/>
          </a:xfrm>
        </p:spPr>
      </p:sp>
    </p:spTree>
    <p:extLst>
      <p:ext uri="{BB962C8B-B14F-4D97-AF65-F5344CB8AC3E}">
        <p14:creationId xmlns:p14="http://schemas.microsoft.com/office/powerpoint/2010/main" val="2450580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4CB2ACF7-515F-4DFB-8D4D-C6F2EE5920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68"/>
          <a:stretch/>
        </p:blipFill>
        <p:spPr>
          <a:xfrm>
            <a:off x="-27093" y="-28575"/>
            <a:ext cx="12242800" cy="69531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028301E-7F67-453F-AB29-6E7721217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6157" y="2429600"/>
            <a:ext cx="9144000" cy="85735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79C875-DB49-462C-921C-7D5C7056082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6157" y="3460795"/>
            <a:ext cx="9138081" cy="1100571"/>
          </a:xfrm>
        </p:spPr>
        <p:txBody>
          <a:bodyPr>
            <a:normAutofit/>
          </a:bodyPr>
          <a:lstStyle>
            <a:lvl1pPr marL="0" indent="0" algn="l">
              <a:buNone/>
              <a:defRPr sz="1400" spc="100" baseline="0">
                <a:solidFill>
                  <a:schemeClr val="tx1"/>
                </a:solidFill>
                <a:latin typeface="Value Sans Pro" panose="020B05030501010401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goes here</a:t>
            </a:r>
          </a:p>
          <a:p>
            <a:r>
              <a:rPr lang="en-US" dirty="0"/>
              <a:t>Month 2020</a:t>
            </a:r>
          </a:p>
        </p:txBody>
      </p:sp>
      <p:pic>
        <p:nvPicPr>
          <p:cNvPr id="10" name="Picture 9" descr="A picture containing drawing, clock, sign&#10;&#10;Description automatically generated">
            <a:extLst>
              <a:ext uri="{FF2B5EF4-FFF2-40B4-BE49-F238E27FC236}">
                <a16:creationId xmlns:a16="http://schemas.microsoft.com/office/drawing/2014/main" id="{9CC05CFF-C108-4F8F-9AAE-CD126A08B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542" y="984076"/>
            <a:ext cx="2029289" cy="327341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062010E-9DE2-40E4-A25A-EA14DF656381}"/>
              </a:ext>
            </a:extLst>
          </p:cNvPr>
          <p:cNvSpPr txBox="1">
            <a:spLocks/>
          </p:cNvSpPr>
          <p:nvPr userDrawn="1"/>
        </p:nvSpPr>
        <p:spPr>
          <a:xfrm>
            <a:off x="9841371" y="6555165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00" dirty="0"/>
              <a:t>TRADE SECRET &amp; STRICTLY CONFIDENTI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B0422C-1BEB-46D2-9FE2-01AAD0D8B61C}"/>
              </a:ext>
            </a:extLst>
          </p:cNvPr>
          <p:cNvSpPr>
            <a:spLocks/>
          </p:cNvSpPr>
          <p:nvPr userDrawn="1"/>
        </p:nvSpPr>
        <p:spPr>
          <a:xfrm>
            <a:off x="-1644316" y="494714"/>
            <a:ext cx="1508760" cy="320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171, G-132, B-5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A0D81E-B350-43E6-A395-F0B301BCBE92}"/>
              </a:ext>
            </a:extLst>
          </p:cNvPr>
          <p:cNvSpPr>
            <a:spLocks/>
          </p:cNvSpPr>
          <p:nvPr userDrawn="1"/>
        </p:nvSpPr>
        <p:spPr>
          <a:xfrm>
            <a:off x="-1644316" y="1484142"/>
            <a:ext cx="1508760" cy="32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8, G-132, B-15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6D8FBB-8F49-4CE9-936C-03FC60BCAD4D}"/>
              </a:ext>
            </a:extLst>
          </p:cNvPr>
          <p:cNvSpPr>
            <a:spLocks/>
          </p:cNvSpPr>
          <p:nvPr userDrawn="1"/>
        </p:nvSpPr>
        <p:spPr>
          <a:xfrm>
            <a:off x="-1644316" y="2018819"/>
            <a:ext cx="1508760" cy="320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97, G-161, B-22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51BBC20-70B9-4C60-81DA-B2DDD9C46CA7}"/>
              </a:ext>
            </a:extLst>
          </p:cNvPr>
          <p:cNvSpPr>
            <a:spLocks/>
          </p:cNvSpPr>
          <p:nvPr userDrawn="1"/>
        </p:nvSpPr>
        <p:spPr>
          <a:xfrm>
            <a:off x="-1644316" y="-3233"/>
            <a:ext cx="1508760" cy="320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, G-54, B-7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3ACAC6-3143-4240-B61F-FD761A75243B}"/>
              </a:ext>
            </a:extLst>
          </p:cNvPr>
          <p:cNvSpPr>
            <a:spLocks/>
          </p:cNvSpPr>
          <p:nvPr userDrawn="1"/>
        </p:nvSpPr>
        <p:spPr>
          <a:xfrm>
            <a:off x="-1644316" y="989428"/>
            <a:ext cx="1508760" cy="320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29, G-101, B-11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77E953-E149-4C7C-80DE-4BA8F56F908C}"/>
              </a:ext>
            </a:extLst>
          </p:cNvPr>
          <p:cNvSpPr>
            <a:spLocks/>
          </p:cNvSpPr>
          <p:nvPr userDrawn="1"/>
        </p:nvSpPr>
        <p:spPr>
          <a:xfrm>
            <a:off x="-1644316" y="2524332"/>
            <a:ext cx="1508760" cy="3200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82, G-231, B-25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195FDD0-CEDD-4D3A-A133-4D75DC3CC310}"/>
              </a:ext>
            </a:extLst>
          </p:cNvPr>
          <p:cNvSpPr>
            <a:spLocks/>
          </p:cNvSpPr>
          <p:nvPr userDrawn="1"/>
        </p:nvSpPr>
        <p:spPr>
          <a:xfrm>
            <a:off x="-1644317" y="4040871"/>
            <a:ext cx="1508760" cy="32004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15, G-185, B-12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A5D7159-A0FA-44FE-A290-CEB1D8272B31}"/>
              </a:ext>
            </a:extLst>
          </p:cNvPr>
          <p:cNvSpPr>
            <a:spLocks/>
          </p:cNvSpPr>
          <p:nvPr userDrawn="1"/>
        </p:nvSpPr>
        <p:spPr>
          <a:xfrm>
            <a:off x="-1644316" y="6062923"/>
            <a:ext cx="1508760" cy="32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96, G-206, B-215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C5A467-BF82-41AD-9257-FB50EDF195CC}"/>
              </a:ext>
            </a:extLst>
          </p:cNvPr>
          <p:cNvSpPr>
            <a:spLocks/>
          </p:cNvSpPr>
          <p:nvPr userDrawn="1"/>
        </p:nvSpPr>
        <p:spPr>
          <a:xfrm>
            <a:off x="-1644316" y="6568439"/>
            <a:ext cx="1508760" cy="320040"/>
          </a:xfrm>
          <a:prstGeom prst="rect">
            <a:avLst/>
          </a:prstGeom>
          <a:solidFill>
            <a:srgbClr val="A3CC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71, G-202, B-24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DD779BA-99D6-4436-899F-538328D52AAD}"/>
              </a:ext>
            </a:extLst>
          </p:cNvPr>
          <p:cNvSpPr>
            <a:spLocks/>
          </p:cNvSpPr>
          <p:nvPr userDrawn="1"/>
        </p:nvSpPr>
        <p:spPr>
          <a:xfrm>
            <a:off x="-1639066" y="3535358"/>
            <a:ext cx="1508760" cy="320040"/>
          </a:xfrm>
          <a:prstGeom prst="rect">
            <a:avLst/>
          </a:prstGeom>
          <a:solidFill>
            <a:srgbClr val="0D6B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3, G-107, B-147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E246C8-CCFF-4742-A2BF-91348604F89F}"/>
              </a:ext>
            </a:extLst>
          </p:cNvPr>
          <p:cNvSpPr>
            <a:spLocks/>
          </p:cNvSpPr>
          <p:nvPr userDrawn="1"/>
        </p:nvSpPr>
        <p:spPr>
          <a:xfrm>
            <a:off x="-1644316" y="5051897"/>
            <a:ext cx="1508760" cy="320040"/>
          </a:xfrm>
          <a:prstGeom prst="rect">
            <a:avLst/>
          </a:prstGeom>
          <a:solidFill>
            <a:srgbClr val="2198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33, G-152, B-17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FA1F11D-737A-40E6-A81E-3776E1CD5C9D}"/>
              </a:ext>
            </a:extLst>
          </p:cNvPr>
          <p:cNvSpPr>
            <a:spLocks/>
          </p:cNvSpPr>
          <p:nvPr userDrawn="1"/>
        </p:nvSpPr>
        <p:spPr>
          <a:xfrm>
            <a:off x="-1644316" y="3029845"/>
            <a:ext cx="1508760" cy="320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08, G-232, B-248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D115FB5-FCC7-4622-87FA-80C9C1F316F5}"/>
              </a:ext>
            </a:extLst>
          </p:cNvPr>
          <p:cNvSpPr>
            <a:spLocks/>
          </p:cNvSpPr>
          <p:nvPr userDrawn="1"/>
        </p:nvSpPr>
        <p:spPr>
          <a:xfrm>
            <a:off x="12269558" y="0"/>
            <a:ext cx="1508760" cy="32004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0, G-0, B-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7A6DA6F-02BE-46C7-A201-5A3463DA2C45}"/>
              </a:ext>
            </a:extLst>
          </p:cNvPr>
          <p:cNvSpPr>
            <a:spLocks/>
          </p:cNvSpPr>
          <p:nvPr userDrawn="1"/>
        </p:nvSpPr>
        <p:spPr>
          <a:xfrm>
            <a:off x="12269558" y="494714"/>
            <a:ext cx="1508760" cy="320040"/>
          </a:xfrm>
          <a:prstGeom prst="rect">
            <a:avLst/>
          </a:prstGeom>
          <a:solidFill>
            <a:srgbClr val="5F5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95, G-95, B-95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3C1BE37-33EA-441B-9A07-584D23C28473}"/>
              </a:ext>
            </a:extLst>
          </p:cNvPr>
          <p:cNvSpPr>
            <a:spLocks/>
          </p:cNvSpPr>
          <p:nvPr userDrawn="1"/>
        </p:nvSpPr>
        <p:spPr>
          <a:xfrm>
            <a:off x="12269558" y="989428"/>
            <a:ext cx="1508760" cy="320040"/>
          </a:xfrm>
          <a:prstGeom prst="rect">
            <a:avLst/>
          </a:prstGeom>
          <a:solidFill>
            <a:srgbClr val="BCBC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188, G-188, B-188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299D146-C78D-4BCD-91D9-3D20F0B9F5BC}"/>
              </a:ext>
            </a:extLst>
          </p:cNvPr>
          <p:cNvSpPr>
            <a:spLocks/>
          </p:cNvSpPr>
          <p:nvPr userDrawn="1"/>
        </p:nvSpPr>
        <p:spPr>
          <a:xfrm>
            <a:off x="12269558" y="1484142"/>
            <a:ext cx="1508760" cy="32004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ysClr val="windowText" lastClr="000000"/>
                </a:solidFill>
              </a:rPr>
              <a:t>R-235, G-235, B-235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F5098E4-5E3D-47B7-AAEF-A12FE7B84E4A}"/>
              </a:ext>
            </a:extLst>
          </p:cNvPr>
          <p:cNvSpPr>
            <a:spLocks/>
          </p:cNvSpPr>
          <p:nvPr userDrawn="1"/>
        </p:nvSpPr>
        <p:spPr>
          <a:xfrm>
            <a:off x="-1644316" y="4546384"/>
            <a:ext cx="1508760" cy="32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42, G-232, B-211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EB8486A-1A42-41DF-BCB6-2EBA83C0201A}"/>
              </a:ext>
            </a:extLst>
          </p:cNvPr>
          <p:cNvSpPr>
            <a:spLocks/>
          </p:cNvSpPr>
          <p:nvPr userDrawn="1"/>
        </p:nvSpPr>
        <p:spPr>
          <a:xfrm>
            <a:off x="-1644316" y="5557410"/>
            <a:ext cx="1508760" cy="3200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ysClr val="windowText" lastClr="000000"/>
                </a:solidFill>
              </a:rPr>
              <a:t>R-196, G-234, B-240</a:t>
            </a:r>
          </a:p>
        </p:txBody>
      </p:sp>
    </p:spTree>
    <p:extLst>
      <p:ext uri="{BB962C8B-B14F-4D97-AF65-F5344CB8AC3E}">
        <p14:creationId xmlns:p14="http://schemas.microsoft.com/office/powerpoint/2010/main" val="927018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F6BA3262-900E-4F6F-9F8B-8F5907DBEB9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4772025" cy="3709327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ouble Click Icon to Insert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34EF13C-0111-4573-ADF1-3C8F128F1C56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0" y="3898449"/>
            <a:ext cx="2288661" cy="2694907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  <a:p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16241CF7-17E1-4F20-AE63-71E72BA746FB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2469531" y="3898450"/>
            <a:ext cx="2302494" cy="2694906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  <a:p>
            <a:endParaRPr lang="en-US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DDD2D64-2160-439C-9E66-2E4BC8346C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6700" y="673508"/>
            <a:ext cx="6554772" cy="6041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C652314-B8E0-45EA-AE9D-61FD0BAD68C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46700" y="1600201"/>
            <a:ext cx="6554773" cy="446035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uble Click Icon to Insert Chart/Graph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4B22A95-3B9A-4D96-93EF-13C6F3ECB60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246700" y="6184492"/>
            <a:ext cx="6554772" cy="35698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24750444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7290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object 11"/>
          <p:cNvSpPr txBox="1"/>
          <p:nvPr/>
        </p:nvSpPr>
        <p:spPr>
          <a:xfrm>
            <a:off x="763934" y="3989526"/>
            <a:ext cx="10664135" cy="37997"/>
          </a:xfrm>
          <a:prstGeom prst="rect">
            <a:avLst/>
          </a:prstGeom>
          <a:solidFill>
            <a:srgbClr val="78A9DE"/>
          </a:solidFill>
          <a:ln w="19050">
            <a:solidFill>
              <a:srgbClr val="78A9DE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225425" algn="ctr">
              <a:lnSpc>
                <a:spcPct val="100000"/>
              </a:lnSpc>
            </a:pPr>
            <a:endParaRPr sz="1200" dirty="0">
              <a:latin typeface="+mj-lt"/>
              <a:cs typeface="Arial Unicode MS"/>
            </a:endParaRPr>
          </a:p>
        </p:txBody>
      </p:sp>
      <p:sp>
        <p:nvSpPr>
          <p:cNvPr id="10" name="Title 1"/>
          <p:cNvSpPr>
            <a:spLocks noGrp="1"/>
          </p:cNvSpPr>
          <p:nvPr userDrawn="1">
            <p:ph type="title"/>
          </p:nvPr>
        </p:nvSpPr>
        <p:spPr>
          <a:xfrm>
            <a:off x="762000" y="2593101"/>
            <a:ext cx="10668000" cy="1362075"/>
          </a:xfrm>
          <a:solidFill>
            <a:schemeClr val="tx2"/>
          </a:solidFill>
        </p:spPr>
        <p:txBody>
          <a:bodyPr lIns="182880" tIns="182880" rIns="182880" bIns="182880" anchor="ctr"/>
          <a:lstStyle>
            <a:lvl1pPr algn="ctr">
              <a:defRPr sz="4000" b="0" cap="all">
                <a:solidFill>
                  <a:schemeClr val="bg1"/>
                </a:solidFill>
              </a:defRPr>
            </a:lvl1pPr>
          </a:lstStyle>
          <a:p>
            <a:r>
              <a:rPr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890357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1003532"/>
            <a:ext cx="11582400" cy="5567683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75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75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75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77841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1003532"/>
            <a:ext cx="11582400" cy="556768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  <a:buFontTx/>
              <a:buNone/>
              <a:defRPr sz="750">
                <a:solidFill>
                  <a:schemeClr val="tx1"/>
                </a:solidFill>
                <a:latin typeface="+mn-lt"/>
              </a:defRPr>
            </a:lvl1pPr>
            <a:lvl2pPr marL="115232" indent="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  <a:buFontTx/>
              <a:buNone/>
              <a:defRPr sz="750">
                <a:solidFill>
                  <a:schemeClr val="tx1"/>
                </a:solidFill>
                <a:latin typeface="+mn-lt"/>
              </a:defRPr>
            </a:lvl2pPr>
            <a:lvl3pPr marL="230463" indent="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  <a:buFontTx/>
              <a:buNone/>
              <a:defRPr sz="750">
                <a:solidFill>
                  <a:schemeClr val="tx1"/>
                </a:solidFill>
                <a:latin typeface="+mn-lt"/>
              </a:defRPr>
            </a:lvl3pPr>
            <a:lvl4pPr marL="317687" indent="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  <a:buFontTx/>
              <a:buNone/>
              <a:defRPr sz="750">
                <a:solidFill>
                  <a:schemeClr val="tx1"/>
                </a:solidFill>
                <a:latin typeface="+mn-lt"/>
              </a:defRPr>
            </a:lvl4pPr>
            <a:lvl5pPr marL="404911" indent="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  <a:buFontTx/>
              <a:buNone/>
              <a:defRPr sz="75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066239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6"/>
          </p:nvPr>
        </p:nvSpPr>
        <p:spPr>
          <a:xfrm>
            <a:off x="304800" y="1412218"/>
            <a:ext cx="11582400" cy="5158992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75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75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75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93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58397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Char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11582400" cy="4429058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304800" y="1715757"/>
            <a:ext cx="11582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5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1467199"/>
            <a:ext cx="11582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670588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5486400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005840"/>
            <a:ext cx="5486400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229212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5486400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005840"/>
            <a:ext cx="5486400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21122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21056"/>
            <a:ext cx="5486400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5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521056"/>
            <a:ext cx="5486400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902511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21056"/>
            <a:ext cx="5486400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5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521056"/>
            <a:ext cx="5486400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96000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80893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ey Points with Individual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59ED1E0-A710-4096-A07D-9A052B3FF415}"/>
              </a:ext>
            </a:extLst>
          </p:cNvPr>
          <p:cNvSpPr/>
          <p:nvPr userDrawn="1"/>
        </p:nvSpPr>
        <p:spPr>
          <a:xfrm>
            <a:off x="0" y="0"/>
            <a:ext cx="12192000" cy="18998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34EF13C-0111-4573-ADF1-3C8F128F1C56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0" y="0"/>
            <a:ext cx="2971800" cy="380832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  <a:p>
            <a:endParaRPr lang="en-US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11AA3C47-19D5-44C2-9AF8-5EB3B127CA1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3134360" y="0"/>
            <a:ext cx="2880360" cy="380832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  <a:p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16317D0-1803-4D10-8F30-B247681361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177280" y="1"/>
            <a:ext cx="2971800" cy="3808324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  <a:p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4644D7AF-2DD1-4767-8369-C0C50D42161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9311640" y="0"/>
            <a:ext cx="2880360" cy="3808324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  <a:p>
            <a:endParaRPr lang="en-US" dirty="0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B7BA872D-375D-43C5-BA15-6D9391D4573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50511" y="4700728"/>
            <a:ext cx="2470778" cy="230819"/>
          </a:xfrm>
        </p:spPr>
        <p:txBody>
          <a:bodyPr>
            <a:noAutofit/>
          </a:bodyPr>
          <a:lstStyle>
            <a:lvl1pPr marL="0" indent="0" algn="ctr"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24F42C2-F04A-4B0A-BE0B-094AF042329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50511" y="4958180"/>
            <a:ext cx="2470778" cy="1199171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buNone/>
              <a:defRPr sz="1300" b="0" spc="60" baseline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9208927-EC63-48E2-99F4-BE3CB5834E4C}"/>
              </a:ext>
            </a:extLst>
          </p:cNvPr>
          <p:cNvSpPr/>
          <p:nvPr userDrawn="1"/>
        </p:nvSpPr>
        <p:spPr>
          <a:xfrm>
            <a:off x="1221791" y="4030467"/>
            <a:ext cx="528218" cy="52821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22E164-1490-46A2-AAE0-F317186F888E}"/>
              </a:ext>
            </a:extLst>
          </p:cNvPr>
          <p:cNvSpPr txBox="1"/>
          <p:nvPr userDrawn="1"/>
        </p:nvSpPr>
        <p:spPr>
          <a:xfrm>
            <a:off x="1221791" y="4129887"/>
            <a:ext cx="528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01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3C2968F9-93C2-4BFE-AC23-2515E804308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3339151" y="4700728"/>
            <a:ext cx="2470778" cy="230819"/>
          </a:xfrm>
        </p:spPr>
        <p:txBody>
          <a:bodyPr>
            <a:noAutofit/>
          </a:bodyPr>
          <a:lstStyle>
            <a:lvl1pPr marL="0" indent="0" algn="ctr"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251E3F0F-B9DC-4071-85A3-ADC0489713DC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3339151" y="4958181"/>
            <a:ext cx="2470778" cy="1199170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buNone/>
              <a:defRPr sz="1300" b="0" spc="60" baseline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F6D81EA-DDAC-4D99-9008-8B8B4CC9A109}"/>
              </a:ext>
            </a:extLst>
          </p:cNvPr>
          <p:cNvSpPr/>
          <p:nvPr userDrawn="1"/>
        </p:nvSpPr>
        <p:spPr>
          <a:xfrm>
            <a:off x="4310431" y="4030467"/>
            <a:ext cx="528218" cy="52821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8447F83-918D-4B66-A14E-E08F726E4348}"/>
              </a:ext>
            </a:extLst>
          </p:cNvPr>
          <p:cNvSpPr txBox="1"/>
          <p:nvPr userDrawn="1"/>
        </p:nvSpPr>
        <p:spPr>
          <a:xfrm>
            <a:off x="4310431" y="4129887"/>
            <a:ext cx="528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02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131491AC-A5B1-49F5-8BCA-35591625AB45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427791" y="4700728"/>
            <a:ext cx="2470778" cy="230819"/>
          </a:xfrm>
        </p:spPr>
        <p:txBody>
          <a:bodyPr>
            <a:noAutofit/>
          </a:bodyPr>
          <a:lstStyle>
            <a:lvl1pPr marL="0" indent="0" algn="ctr"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8C19A60-CFF0-451E-B533-A8DB7DBFAA53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427791" y="4958181"/>
            <a:ext cx="2470778" cy="1199170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buNone/>
              <a:defRPr sz="1300" b="0" spc="60" baseline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999012F-08F6-4BCF-9C9E-9FC63FB44109}"/>
              </a:ext>
            </a:extLst>
          </p:cNvPr>
          <p:cNvSpPr/>
          <p:nvPr userDrawn="1"/>
        </p:nvSpPr>
        <p:spPr>
          <a:xfrm>
            <a:off x="7399071" y="4030467"/>
            <a:ext cx="528218" cy="52821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9AB0740-44C1-4047-8F23-E8C1717C9746}"/>
              </a:ext>
            </a:extLst>
          </p:cNvPr>
          <p:cNvSpPr txBox="1"/>
          <p:nvPr userDrawn="1"/>
        </p:nvSpPr>
        <p:spPr>
          <a:xfrm>
            <a:off x="7399071" y="4129887"/>
            <a:ext cx="528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03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5F33F22-694E-42A9-A93F-A295853F4D56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9516431" y="4700728"/>
            <a:ext cx="2470778" cy="230819"/>
          </a:xfrm>
        </p:spPr>
        <p:txBody>
          <a:bodyPr>
            <a:noAutofit/>
          </a:bodyPr>
          <a:lstStyle>
            <a:lvl1pPr marL="0" indent="0" algn="ctr"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D3E791-872C-44C0-B248-6C0DF46D00D7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516431" y="4958181"/>
            <a:ext cx="2470778" cy="1199170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buNone/>
              <a:defRPr sz="1300" b="0" spc="60" baseline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26CE5CD-B180-4BAB-A581-9E037E572393}"/>
              </a:ext>
            </a:extLst>
          </p:cNvPr>
          <p:cNvSpPr/>
          <p:nvPr userDrawn="1"/>
        </p:nvSpPr>
        <p:spPr>
          <a:xfrm>
            <a:off x="10487711" y="4030467"/>
            <a:ext cx="528218" cy="52821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7A74417-C902-48D7-A0F9-CC30FE25EBBE}"/>
              </a:ext>
            </a:extLst>
          </p:cNvPr>
          <p:cNvSpPr txBox="1"/>
          <p:nvPr userDrawn="1"/>
        </p:nvSpPr>
        <p:spPr>
          <a:xfrm>
            <a:off x="10487711" y="4129887"/>
            <a:ext cx="528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04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5B177B9-1012-4A13-9C4E-9C7AE363621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303429401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19226"/>
            <a:ext cx="5486400" cy="4981575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419224"/>
            <a:ext cx="5486400" cy="4981576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5"/>
            <a:ext cx="5486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6400800" y="984285"/>
            <a:ext cx="5486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304800" y="133476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400800" y="133476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233838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5486400" cy="4429058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1895475"/>
            <a:ext cx="5486400" cy="4429058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458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5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04800" y="1467199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6400800" y="1467199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01781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19226"/>
            <a:ext cx="5486400" cy="4981575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419224"/>
            <a:ext cx="5486400" cy="4981576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5"/>
            <a:ext cx="5486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6400800" y="984285"/>
            <a:ext cx="5486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430853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Tabl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5486400" cy="4429058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1895475"/>
            <a:ext cx="5486400" cy="4429058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458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5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1467199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/>
          </p:nvPr>
        </p:nvSpPr>
        <p:spPr>
          <a:xfrm>
            <a:off x="6400800" y="1467199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072145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3450336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005840"/>
            <a:ext cx="3450336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005840"/>
            <a:ext cx="3450336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96856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17904"/>
            <a:ext cx="3450336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93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517904"/>
            <a:ext cx="3450336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517904"/>
            <a:ext cx="3450336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362836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17904"/>
            <a:ext cx="3450336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93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517904"/>
            <a:ext cx="3450336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517904"/>
            <a:ext cx="3450336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695168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419224"/>
            <a:ext cx="3450336" cy="4981576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419224"/>
            <a:ext cx="3450336" cy="4981576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04800" y="1419226"/>
            <a:ext cx="3450336" cy="4981575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5"/>
            <a:ext cx="3450336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304800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17"/>
          </p:nvPr>
        </p:nvSpPr>
        <p:spPr>
          <a:xfrm>
            <a:off x="4370831" y="1005845"/>
            <a:ext cx="3450336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4370831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8"/>
          </p:nvPr>
        </p:nvSpPr>
        <p:spPr>
          <a:xfrm>
            <a:off x="8436861" y="1005845"/>
            <a:ext cx="3450336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8436861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318600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743055"/>
            <a:ext cx="3450336" cy="4621169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93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743055"/>
            <a:ext cx="3450336" cy="4621169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743055"/>
            <a:ext cx="3450336" cy="4621169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04800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4370832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67199"/>
            <a:ext cx="3450336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4"/>
          </p:nvPr>
        </p:nvSpPr>
        <p:spPr>
          <a:xfrm>
            <a:off x="4370832" y="1467199"/>
            <a:ext cx="3450336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8436863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5"/>
          </p:nvPr>
        </p:nvSpPr>
        <p:spPr>
          <a:xfrm>
            <a:off x="8436863" y="1467199"/>
            <a:ext cx="3450336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799664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Layou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05840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05840"/>
            <a:ext cx="5486400" cy="5390888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84859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ey Points with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062010E-9DE2-40E4-A25A-EA14DF656381}"/>
              </a:ext>
            </a:extLst>
          </p:cNvPr>
          <p:cNvSpPr txBox="1">
            <a:spLocks/>
          </p:cNvSpPr>
          <p:nvPr userDrawn="1"/>
        </p:nvSpPr>
        <p:spPr>
          <a:xfrm>
            <a:off x="9686600" y="6418490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TRADE SECRET &amp; STRICTLY CONFIDENTI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F91DFF-39F0-464A-9BB6-3BE65EA08D97}"/>
              </a:ext>
            </a:extLst>
          </p:cNvPr>
          <p:cNvSpPr/>
          <p:nvPr userDrawn="1"/>
        </p:nvSpPr>
        <p:spPr>
          <a:xfrm>
            <a:off x="0" y="813916"/>
            <a:ext cx="12192000" cy="6044084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A3FD7F2-E603-49C0-8304-29ADE6298515}"/>
              </a:ext>
            </a:extLst>
          </p:cNvPr>
          <p:cNvSpPr txBox="1">
            <a:spLocks/>
          </p:cNvSpPr>
          <p:nvPr userDrawn="1"/>
        </p:nvSpPr>
        <p:spPr>
          <a:xfrm>
            <a:off x="9686600" y="6418490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TRADE SECRET &amp; STRICTLY CONFIDENTIA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489AF3C-9B92-4F46-89D7-0BE96BCD562A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1" y="0"/>
            <a:ext cx="5459766" cy="6858000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A22C802-515C-4A0F-8A9E-EB6AB2E056E8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35524" y="1644489"/>
            <a:ext cx="2470778" cy="230819"/>
          </a:xfrm>
        </p:spPr>
        <p:txBody>
          <a:bodyPr>
            <a:noAutofit/>
          </a:bodyPr>
          <a:lstStyle>
            <a:lvl1pPr marL="0" indent="0" algn="ctr">
              <a:buNone/>
              <a:defRPr sz="1200" b="1" spc="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1879CD1-CC18-456B-83A2-9976677D3E8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135524" y="1928571"/>
            <a:ext cx="2470778" cy="1159148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buNone/>
              <a:defRPr sz="1300" b="0" spc="60" baseline="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23F5A61-38D7-4FE2-97E8-8206A15F9975}"/>
              </a:ext>
            </a:extLst>
          </p:cNvPr>
          <p:cNvSpPr/>
          <p:nvPr userDrawn="1"/>
        </p:nvSpPr>
        <p:spPr>
          <a:xfrm>
            <a:off x="7106804" y="974228"/>
            <a:ext cx="528218" cy="52821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7C8573-1FD4-4B7F-B63F-CA5EDDC14B62}"/>
              </a:ext>
            </a:extLst>
          </p:cNvPr>
          <p:cNvSpPr txBox="1"/>
          <p:nvPr userDrawn="1"/>
        </p:nvSpPr>
        <p:spPr>
          <a:xfrm>
            <a:off x="7106804" y="1073648"/>
            <a:ext cx="528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01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BE0F38D-4AF0-4D9A-99D0-05D6FED9EF4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045465" y="1641128"/>
            <a:ext cx="2470778" cy="230819"/>
          </a:xfrm>
        </p:spPr>
        <p:txBody>
          <a:bodyPr>
            <a:noAutofit/>
          </a:bodyPr>
          <a:lstStyle>
            <a:lvl1pPr marL="0" indent="0" algn="ctr">
              <a:buNone/>
              <a:defRPr sz="1200" b="1" spc="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CBD8286-6B0F-41A6-9EBE-FC040B39A21D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9045465" y="1925210"/>
            <a:ext cx="2470778" cy="1162510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buNone/>
              <a:defRPr sz="1300" b="0" spc="60" baseline="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33DE124-3AF2-489F-95E9-DB98FA1F9E8E}"/>
              </a:ext>
            </a:extLst>
          </p:cNvPr>
          <p:cNvSpPr/>
          <p:nvPr userDrawn="1"/>
        </p:nvSpPr>
        <p:spPr>
          <a:xfrm>
            <a:off x="10016745" y="970867"/>
            <a:ext cx="528218" cy="52821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D4FEBCB-BA6D-45FC-813D-758C03DE4E79}"/>
              </a:ext>
            </a:extLst>
          </p:cNvPr>
          <p:cNvSpPr txBox="1"/>
          <p:nvPr userDrawn="1"/>
        </p:nvSpPr>
        <p:spPr>
          <a:xfrm>
            <a:off x="10016745" y="1070287"/>
            <a:ext cx="528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02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9372BB3-4668-41AB-9C50-E3CCCA0E313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135524" y="4102368"/>
            <a:ext cx="2470778" cy="230819"/>
          </a:xfrm>
        </p:spPr>
        <p:txBody>
          <a:bodyPr>
            <a:noAutofit/>
          </a:bodyPr>
          <a:lstStyle>
            <a:lvl1pPr marL="0" indent="0" algn="ctr">
              <a:buNone/>
              <a:defRPr sz="1200" b="1" spc="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DDBA020-99FB-4BA5-9B34-9A46744B7D9F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6135524" y="4386450"/>
            <a:ext cx="2470778" cy="1190386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buNone/>
              <a:defRPr sz="1300" b="0" spc="60" baseline="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F45ABDA-A879-4761-9AE0-B27311B48279}"/>
              </a:ext>
            </a:extLst>
          </p:cNvPr>
          <p:cNvSpPr/>
          <p:nvPr userDrawn="1"/>
        </p:nvSpPr>
        <p:spPr>
          <a:xfrm>
            <a:off x="7106804" y="3432107"/>
            <a:ext cx="528218" cy="52821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AD1E949-35EA-4C3A-AF6D-04A0A3336AA4}"/>
              </a:ext>
            </a:extLst>
          </p:cNvPr>
          <p:cNvSpPr txBox="1"/>
          <p:nvPr userDrawn="1"/>
        </p:nvSpPr>
        <p:spPr>
          <a:xfrm>
            <a:off x="7106804" y="3531527"/>
            <a:ext cx="528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03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ACBAFF7C-08BE-4042-9537-A15467AF9F5B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9045465" y="4102368"/>
            <a:ext cx="2470778" cy="230819"/>
          </a:xfrm>
        </p:spPr>
        <p:txBody>
          <a:bodyPr>
            <a:noAutofit/>
          </a:bodyPr>
          <a:lstStyle>
            <a:lvl1pPr marL="0" indent="0" algn="ctr">
              <a:buNone/>
              <a:defRPr sz="1200" b="1" spc="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63C8D39-2754-4CCF-8AE1-4B13A26F673F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45465" y="4386449"/>
            <a:ext cx="2470778" cy="1190387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buNone/>
              <a:defRPr sz="1300" b="0" spc="60" baseline="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88635FC-F9E2-4036-92DE-F16C1F59C3F8}"/>
              </a:ext>
            </a:extLst>
          </p:cNvPr>
          <p:cNvSpPr/>
          <p:nvPr userDrawn="1"/>
        </p:nvSpPr>
        <p:spPr>
          <a:xfrm>
            <a:off x="10016745" y="3414102"/>
            <a:ext cx="528218" cy="52821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87E7BBD-5D10-4CB3-A671-4072F963222B}"/>
              </a:ext>
            </a:extLst>
          </p:cNvPr>
          <p:cNvSpPr txBox="1"/>
          <p:nvPr userDrawn="1"/>
        </p:nvSpPr>
        <p:spPr>
          <a:xfrm>
            <a:off x="10016745" y="3531527"/>
            <a:ext cx="528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04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D5C30D-FD24-458B-824F-58F3F8D3A175}"/>
              </a:ext>
            </a:extLst>
          </p:cNvPr>
          <p:cNvSpPr>
            <a:spLocks/>
          </p:cNvSpPr>
          <p:nvPr userDrawn="1"/>
        </p:nvSpPr>
        <p:spPr>
          <a:xfrm>
            <a:off x="-1644316" y="494714"/>
            <a:ext cx="1508760" cy="320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171, G-132, B-5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DEB3B4F-F176-4AA1-8805-F66A1F10E8A6}"/>
              </a:ext>
            </a:extLst>
          </p:cNvPr>
          <p:cNvSpPr>
            <a:spLocks/>
          </p:cNvSpPr>
          <p:nvPr userDrawn="1"/>
        </p:nvSpPr>
        <p:spPr>
          <a:xfrm>
            <a:off x="-1644316" y="1484142"/>
            <a:ext cx="1508760" cy="32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8, G-132, B-15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00B312-2550-45BB-9D23-B6A7676B15D9}"/>
              </a:ext>
            </a:extLst>
          </p:cNvPr>
          <p:cNvSpPr>
            <a:spLocks/>
          </p:cNvSpPr>
          <p:nvPr userDrawn="1"/>
        </p:nvSpPr>
        <p:spPr>
          <a:xfrm>
            <a:off x="-1644316" y="2018819"/>
            <a:ext cx="1508760" cy="320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97, G-161, B-22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014731-DB6E-4776-8A8A-75E65DAB8E7B}"/>
              </a:ext>
            </a:extLst>
          </p:cNvPr>
          <p:cNvSpPr>
            <a:spLocks/>
          </p:cNvSpPr>
          <p:nvPr userDrawn="1"/>
        </p:nvSpPr>
        <p:spPr>
          <a:xfrm>
            <a:off x="-1644316" y="-3233"/>
            <a:ext cx="1508760" cy="320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, G-54, B-74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E91ADE5-C953-473F-A296-97E3A251CFB1}"/>
              </a:ext>
            </a:extLst>
          </p:cNvPr>
          <p:cNvSpPr>
            <a:spLocks/>
          </p:cNvSpPr>
          <p:nvPr userDrawn="1"/>
        </p:nvSpPr>
        <p:spPr>
          <a:xfrm>
            <a:off x="-1644316" y="989428"/>
            <a:ext cx="1508760" cy="320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29, G-101, B-11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C810DEB-6B36-4DEE-A03D-F3D1E508541D}"/>
              </a:ext>
            </a:extLst>
          </p:cNvPr>
          <p:cNvSpPr>
            <a:spLocks/>
          </p:cNvSpPr>
          <p:nvPr userDrawn="1"/>
        </p:nvSpPr>
        <p:spPr>
          <a:xfrm>
            <a:off x="-1644316" y="2524332"/>
            <a:ext cx="1508760" cy="3200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82, G-231, B-250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77F64BB-1EFB-4050-99A7-AF7ACF87E4EC}"/>
              </a:ext>
            </a:extLst>
          </p:cNvPr>
          <p:cNvSpPr>
            <a:spLocks/>
          </p:cNvSpPr>
          <p:nvPr userDrawn="1"/>
        </p:nvSpPr>
        <p:spPr>
          <a:xfrm>
            <a:off x="-1644317" y="4040871"/>
            <a:ext cx="1508760" cy="32004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15, G-185, B-122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FEBFDBA-4141-49B2-8DD5-9B7276DE21BB}"/>
              </a:ext>
            </a:extLst>
          </p:cNvPr>
          <p:cNvSpPr>
            <a:spLocks/>
          </p:cNvSpPr>
          <p:nvPr userDrawn="1"/>
        </p:nvSpPr>
        <p:spPr>
          <a:xfrm>
            <a:off x="-1644316" y="6062923"/>
            <a:ext cx="1508760" cy="32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96, G-206, B-215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96C2F2-5792-44C0-90FE-87926CFC628F}"/>
              </a:ext>
            </a:extLst>
          </p:cNvPr>
          <p:cNvSpPr>
            <a:spLocks/>
          </p:cNvSpPr>
          <p:nvPr userDrawn="1"/>
        </p:nvSpPr>
        <p:spPr>
          <a:xfrm>
            <a:off x="-1644316" y="6568439"/>
            <a:ext cx="1508760" cy="320040"/>
          </a:xfrm>
          <a:prstGeom prst="rect">
            <a:avLst/>
          </a:prstGeom>
          <a:solidFill>
            <a:srgbClr val="A3CC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71, G-202, B-243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53644BD-DB9D-4EEE-9CB8-9803D150B526}"/>
              </a:ext>
            </a:extLst>
          </p:cNvPr>
          <p:cNvSpPr>
            <a:spLocks/>
          </p:cNvSpPr>
          <p:nvPr userDrawn="1"/>
        </p:nvSpPr>
        <p:spPr>
          <a:xfrm>
            <a:off x="-1639066" y="3535358"/>
            <a:ext cx="1508760" cy="320040"/>
          </a:xfrm>
          <a:prstGeom prst="rect">
            <a:avLst/>
          </a:prstGeom>
          <a:solidFill>
            <a:srgbClr val="0D6B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3, G-107, B-147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1902BA8-0D5D-4560-AFC8-B8405DA2E41C}"/>
              </a:ext>
            </a:extLst>
          </p:cNvPr>
          <p:cNvSpPr>
            <a:spLocks/>
          </p:cNvSpPr>
          <p:nvPr userDrawn="1"/>
        </p:nvSpPr>
        <p:spPr>
          <a:xfrm>
            <a:off x="-1644316" y="5051897"/>
            <a:ext cx="1508760" cy="320040"/>
          </a:xfrm>
          <a:prstGeom prst="rect">
            <a:avLst/>
          </a:prstGeom>
          <a:solidFill>
            <a:srgbClr val="2198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33, G-152, B-172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DC00885-9FC9-411D-9DEC-05312B494D4F}"/>
              </a:ext>
            </a:extLst>
          </p:cNvPr>
          <p:cNvSpPr>
            <a:spLocks/>
          </p:cNvSpPr>
          <p:nvPr userDrawn="1"/>
        </p:nvSpPr>
        <p:spPr>
          <a:xfrm>
            <a:off x="-1644316" y="3029845"/>
            <a:ext cx="1508760" cy="320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08, G-232, B-248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05D603D-4996-411B-8CA4-C18B2C0FAD53}"/>
              </a:ext>
            </a:extLst>
          </p:cNvPr>
          <p:cNvSpPr>
            <a:spLocks/>
          </p:cNvSpPr>
          <p:nvPr userDrawn="1"/>
        </p:nvSpPr>
        <p:spPr>
          <a:xfrm>
            <a:off x="12269558" y="0"/>
            <a:ext cx="1508760" cy="32004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0, G-0, B-0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7955E8E-9B10-4DFD-8352-CD47161F7BE0}"/>
              </a:ext>
            </a:extLst>
          </p:cNvPr>
          <p:cNvSpPr>
            <a:spLocks/>
          </p:cNvSpPr>
          <p:nvPr userDrawn="1"/>
        </p:nvSpPr>
        <p:spPr>
          <a:xfrm>
            <a:off x="12269558" y="494714"/>
            <a:ext cx="1508760" cy="320040"/>
          </a:xfrm>
          <a:prstGeom prst="rect">
            <a:avLst/>
          </a:prstGeom>
          <a:solidFill>
            <a:srgbClr val="5F5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95, G-95, B-95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40AB3CB-20BA-401E-9D3C-DB0774025842}"/>
              </a:ext>
            </a:extLst>
          </p:cNvPr>
          <p:cNvSpPr>
            <a:spLocks/>
          </p:cNvSpPr>
          <p:nvPr userDrawn="1"/>
        </p:nvSpPr>
        <p:spPr>
          <a:xfrm>
            <a:off x="12269558" y="989428"/>
            <a:ext cx="1508760" cy="320040"/>
          </a:xfrm>
          <a:prstGeom prst="rect">
            <a:avLst/>
          </a:prstGeom>
          <a:solidFill>
            <a:srgbClr val="BCBC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188, G-188, B-188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864D69F-5436-4F03-B8D5-DCA45B454C28}"/>
              </a:ext>
            </a:extLst>
          </p:cNvPr>
          <p:cNvSpPr>
            <a:spLocks/>
          </p:cNvSpPr>
          <p:nvPr userDrawn="1"/>
        </p:nvSpPr>
        <p:spPr>
          <a:xfrm>
            <a:off x="12269558" y="1484142"/>
            <a:ext cx="1508760" cy="32004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ysClr val="windowText" lastClr="000000"/>
                </a:solidFill>
              </a:rPr>
              <a:t>R-235, G-235, B-235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6A0D6A4-2748-4AE8-8AF7-50F2638B4060}"/>
              </a:ext>
            </a:extLst>
          </p:cNvPr>
          <p:cNvSpPr>
            <a:spLocks/>
          </p:cNvSpPr>
          <p:nvPr userDrawn="1"/>
        </p:nvSpPr>
        <p:spPr>
          <a:xfrm>
            <a:off x="-1644316" y="4546384"/>
            <a:ext cx="1508760" cy="32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42, G-232, B-211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968B1B3-99A4-40DC-91D6-A3BB4BAF7380}"/>
              </a:ext>
            </a:extLst>
          </p:cNvPr>
          <p:cNvSpPr>
            <a:spLocks/>
          </p:cNvSpPr>
          <p:nvPr userDrawn="1"/>
        </p:nvSpPr>
        <p:spPr>
          <a:xfrm>
            <a:off x="-1644316" y="5557410"/>
            <a:ext cx="1508760" cy="3200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ysClr val="windowText" lastClr="000000"/>
                </a:solidFill>
              </a:rPr>
              <a:t>R-196, G-234, B-240</a:t>
            </a:r>
          </a:p>
        </p:txBody>
      </p:sp>
    </p:spTree>
    <p:extLst>
      <p:ext uri="{BB962C8B-B14F-4D97-AF65-F5344CB8AC3E}">
        <p14:creationId xmlns:p14="http://schemas.microsoft.com/office/powerpoint/2010/main" val="610132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Layou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359482"/>
            <a:ext cx="5486400" cy="2246417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8"/>
            <a:ext cx="5486400" cy="5037251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4147303"/>
            <a:ext cx="5486400" cy="2249424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304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039864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039864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304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304800" y="3874995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261289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 with Sub-Header &amp;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768657"/>
            <a:ext cx="5486400" cy="210312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768659"/>
            <a:ext cx="5486400" cy="4715957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5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92594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492594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381494"/>
            <a:ext cx="5486400" cy="210312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304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/>
          <p:cNvSpPr>
            <a:spLocks noGrp="1"/>
          </p:cNvSpPr>
          <p:nvPr>
            <p:ph type="body" idx="27"/>
          </p:nvPr>
        </p:nvSpPr>
        <p:spPr>
          <a:xfrm>
            <a:off x="304800" y="4105431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608346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Lay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14470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14470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3927848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01590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 Layou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14470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14470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3927848"/>
            <a:ext cx="5486400" cy="246888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203479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s with Sub-Header &amp;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441805"/>
            <a:ext cx="5486400" cy="237744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441805"/>
            <a:ext cx="5486400" cy="237744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5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114377"/>
            <a:ext cx="5486400" cy="237744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6400800" y="4114377"/>
            <a:ext cx="5486400" cy="237744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304800" y="3972389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 flipH="1">
            <a:off x="6400800" y="3972389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960558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Layout with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378035"/>
            <a:ext cx="5486400" cy="228600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78035"/>
            <a:ext cx="5486400" cy="228600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5179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304800" y="133437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400800" y="133437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111209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111209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5"/>
          </p:nvPr>
        </p:nvSpPr>
        <p:spPr>
          <a:xfrm>
            <a:off x="304800" y="4167217"/>
            <a:ext cx="5486400" cy="228600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6"/>
          </p:nvPr>
        </p:nvSpPr>
        <p:spPr>
          <a:xfrm>
            <a:off x="6400800" y="4167217"/>
            <a:ext cx="5486400" cy="228600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304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>
            <a:spLocks noGrp="1"/>
          </p:cNvSpPr>
          <p:nvPr>
            <p:ph type="body" idx="27"/>
          </p:nvPr>
        </p:nvSpPr>
        <p:spPr>
          <a:xfrm>
            <a:off x="304800" y="3900391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8"/>
          </p:nvPr>
        </p:nvSpPr>
        <p:spPr>
          <a:xfrm>
            <a:off x="6400800" y="3900391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744687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s with Sub-Header &amp;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768657"/>
            <a:ext cx="5486400" cy="210312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768657"/>
            <a:ext cx="5486400" cy="210312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5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92594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492594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381494"/>
            <a:ext cx="5486400" cy="210312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6400800" y="4381494"/>
            <a:ext cx="5486400" cy="2103120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304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H="1">
            <a:off x="6400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/>
          <p:cNvSpPr>
            <a:spLocks noGrp="1"/>
          </p:cNvSpPr>
          <p:nvPr>
            <p:ph type="body" idx="27"/>
          </p:nvPr>
        </p:nvSpPr>
        <p:spPr>
          <a:xfrm>
            <a:off x="304800" y="4105431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8"/>
          </p:nvPr>
        </p:nvSpPr>
        <p:spPr>
          <a:xfrm>
            <a:off x="6400800" y="4105431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60830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all-ou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3320026"/>
            <a:ext cx="11582400" cy="3121828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75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75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75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304800" y="3141892"/>
            <a:ext cx="11582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04800" y="990029"/>
            <a:ext cx="11582400" cy="1973731"/>
          </a:xfrm>
        </p:spPr>
        <p:txBody>
          <a:bodyPr>
            <a:normAutofit/>
          </a:bodyPr>
          <a:lstStyle>
            <a:lvl1pPr marL="0" indent="0">
              <a:spcBef>
                <a:spcPts val="1500"/>
              </a:spcBef>
              <a:buNone/>
              <a:defRPr sz="2100" baseline="0">
                <a:solidFill>
                  <a:srgbClr val="7F7F7F"/>
                </a:solidFill>
                <a:latin typeface="+mn-lt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t>Click to edit call-out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1861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all-ou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6483509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116084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443860" y="1005840"/>
            <a:ext cx="4443341" cy="5394960"/>
          </a:xfrm>
        </p:spPr>
        <p:txBody>
          <a:bodyPr>
            <a:normAutofit/>
          </a:bodyPr>
          <a:lstStyle>
            <a:lvl1pPr marL="0" indent="0">
              <a:spcBef>
                <a:spcPts val="1500"/>
              </a:spcBef>
              <a:buNone/>
              <a:defRPr sz="2100" baseline="0">
                <a:solidFill>
                  <a:srgbClr val="7F7F7F"/>
                </a:solidFill>
                <a:latin typeface="+mn-lt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t>Click to edit call-out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481517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4328160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242560" y="1400699"/>
            <a:ext cx="6644640" cy="5000105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93776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H="1">
            <a:off x="5242560" y="1320844"/>
            <a:ext cx="664464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21"/>
          </p:nvPr>
        </p:nvSpPr>
        <p:spPr>
          <a:xfrm>
            <a:off x="5242560" y="1065089"/>
            <a:ext cx="664464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2989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F91DFF-39F0-464A-9BB6-3BE65EA08D97}"/>
              </a:ext>
            </a:extLst>
          </p:cNvPr>
          <p:cNvSpPr/>
          <p:nvPr userDrawn="1"/>
        </p:nvSpPr>
        <p:spPr>
          <a:xfrm>
            <a:off x="0" y="875534"/>
            <a:ext cx="12192000" cy="598246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062010E-9DE2-40E4-A25A-EA14DF656381}"/>
              </a:ext>
            </a:extLst>
          </p:cNvPr>
          <p:cNvSpPr txBox="1">
            <a:spLocks/>
          </p:cNvSpPr>
          <p:nvPr userDrawn="1"/>
        </p:nvSpPr>
        <p:spPr>
          <a:xfrm>
            <a:off x="9686600" y="6418490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TRADE SECRET &amp; STRICTLY CONFIDENTIA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A3FD7F2-E603-49C0-8304-29ADE6298515}"/>
              </a:ext>
            </a:extLst>
          </p:cNvPr>
          <p:cNvSpPr txBox="1">
            <a:spLocks/>
          </p:cNvSpPr>
          <p:nvPr userDrawn="1"/>
        </p:nvSpPr>
        <p:spPr>
          <a:xfrm>
            <a:off x="9686600" y="6418490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TRADE SECRET &amp; STRICTLY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28301E-7F67-453F-AB29-6E7721217E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6156" y="1513647"/>
            <a:ext cx="9522041" cy="4039339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4500"/>
              </a:lnSpc>
              <a:defRPr sz="3000"/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Donec dictum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non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vel </a:t>
            </a:r>
            <a:r>
              <a:rPr lang="en-US" dirty="0" err="1"/>
              <a:t>neq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neque</a:t>
            </a:r>
            <a:r>
              <a:rPr lang="en-US" dirty="0"/>
              <a:t> ante, </a:t>
            </a:r>
            <a:r>
              <a:rPr lang="en-US" dirty="0" err="1"/>
              <a:t>ut</a:t>
            </a:r>
            <a:r>
              <a:rPr lang="en-US" dirty="0"/>
              <a:t> lacinia </a:t>
            </a:r>
            <a:r>
              <a:rPr lang="en-US" dirty="0" err="1"/>
              <a:t>justo</a:t>
            </a:r>
            <a:r>
              <a:rPr lang="en-US" dirty="0"/>
              <a:t> dictum </a:t>
            </a:r>
            <a:r>
              <a:rPr lang="en-US" dirty="0" err="1"/>
              <a:t>quis</a:t>
            </a:r>
            <a:r>
              <a:rPr lang="en-US" dirty="0"/>
              <a:t>. Cras vitae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, semper dolor </a:t>
            </a:r>
            <a:r>
              <a:rPr lang="en-US" dirty="0" err="1"/>
              <a:t>rhoncus</a:t>
            </a:r>
            <a:r>
              <a:rPr lang="en-US" dirty="0"/>
              <a:t>, pulvinar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03145326-0BDC-441D-943F-11DB8CAAAB0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96156" y="875534"/>
            <a:ext cx="2633473" cy="276081"/>
          </a:xfrm>
        </p:spPr>
        <p:txBody>
          <a:bodyPr>
            <a:noAutofit/>
          </a:bodyPr>
          <a:lstStyle>
            <a:lvl1pPr marL="0" indent="0" algn="l">
              <a:buNone/>
              <a:defRPr sz="1400" b="1" spc="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E74E7DC-EAF8-4155-996C-284ADBA22648}"/>
              </a:ext>
            </a:extLst>
          </p:cNvPr>
          <p:cNvSpPr>
            <a:spLocks/>
          </p:cNvSpPr>
          <p:nvPr userDrawn="1"/>
        </p:nvSpPr>
        <p:spPr>
          <a:xfrm>
            <a:off x="-1644316" y="494714"/>
            <a:ext cx="1508760" cy="320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171, G-132, B-5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19B2A9-D61E-4AEC-920F-0B248E145DFC}"/>
              </a:ext>
            </a:extLst>
          </p:cNvPr>
          <p:cNvSpPr>
            <a:spLocks/>
          </p:cNvSpPr>
          <p:nvPr userDrawn="1"/>
        </p:nvSpPr>
        <p:spPr>
          <a:xfrm>
            <a:off x="-1644316" y="1484142"/>
            <a:ext cx="1508760" cy="32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8, G-132, B-156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4D2848-1F40-4482-B6D2-C90D0679472F}"/>
              </a:ext>
            </a:extLst>
          </p:cNvPr>
          <p:cNvSpPr>
            <a:spLocks/>
          </p:cNvSpPr>
          <p:nvPr userDrawn="1"/>
        </p:nvSpPr>
        <p:spPr>
          <a:xfrm>
            <a:off x="-1644316" y="2018819"/>
            <a:ext cx="1508760" cy="320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97, G-161, B-22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8BC2C5-854E-46A4-8C97-F09844796008}"/>
              </a:ext>
            </a:extLst>
          </p:cNvPr>
          <p:cNvSpPr>
            <a:spLocks/>
          </p:cNvSpPr>
          <p:nvPr userDrawn="1"/>
        </p:nvSpPr>
        <p:spPr>
          <a:xfrm>
            <a:off x="-1644316" y="-3233"/>
            <a:ext cx="1508760" cy="320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, G-54, B-7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D91B2F9-740F-4AAE-AE1F-51FD4D8187F1}"/>
              </a:ext>
            </a:extLst>
          </p:cNvPr>
          <p:cNvSpPr>
            <a:spLocks/>
          </p:cNvSpPr>
          <p:nvPr userDrawn="1"/>
        </p:nvSpPr>
        <p:spPr>
          <a:xfrm>
            <a:off x="-1644316" y="989428"/>
            <a:ext cx="1508760" cy="320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29, G-101, B-11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B3EB24-4796-4CB8-88B4-CDFCE35F25E6}"/>
              </a:ext>
            </a:extLst>
          </p:cNvPr>
          <p:cNvSpPr>
            <a:spLocks/>
          </p:cNvSpPr>
          <p:nvPr userDrawn="1"/>
        </p:nvSpPr>
        <p:spPr>
          <a:xfrm>
            <a:off x="-1644316" y="2524332"/>
            <a:ext cx="1508760" cy="3200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82, G-231, B-25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5E18054-97C6-48A4-A61B-A4861CAF6502}"/>
              </a:ext>
            </a:extLst>
          </p:cNvPr>
          <p:cNvSpPr>
            <a:spLocks/>
          </p:cNvSpPr>
          <p:nvPr userDrawn="1"/>
        </p:nvSpPr>
        <p:spPr>
          <a:xfrm>
            <a:off x="-1644317" y="4040871"/>
            <a:ext cx="1508760" cy="32004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15, G-185, B-12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4AB8D14-B6C3-452F-B081-612494C7056B}"/>
              </a:ext>
            </a:extLst>
          </p:cNvPr>
          <p:cNvSpPr>
            <a:spLocks/>
          </p:cNvSpPr>
          <p:nvPr userDrawn="1"/>
        </p:nvSpPr>
        <p:spPr>
          <a:xfrm>
            <a:off x="-1644316" y="6062923"/>
            <a:ext cx="1508760" cy="32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96, G-206, B-215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C6AE17-207F-438C-BE2A-605E50F371CC}"/>
              </a:ext>
            </a:extLst>
          </p:cNvPr>
          <p:cNvSpPr>
            <a:spLocks/>
          </p:cNvSpPr>
          <p:nvPr userDrawn="1"/>
        </p:nvSpPr>
        <p:spPr>
          <a:xfrm>
            <a:off x="-1644316" y="6568439"/>
            <a:ext cx="1508760" cy="320040"/>
          </a:xfrm>
          <a:prstGeom prst="rect">
            <a:avLst/>
          </a:prstGeom>
          <a:solidFill>
            <a:srgbClr val="A3CC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71, G-202, B-24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04E6A6C-49A8-4F80-B104-98F12B4C7D27}"/>
              </a:ext>
            </a:extLst>
          </p:cNvPr>
          <p:cNvSpPr>
            <a:spLocks/>
          </p:cNvSpPr>
          <p:nvPr userDrawn="1"/>
        </p:nvSpPr>
        <p:spPr>
          <a:xfrm>
            <a:off x="-1639066" y="3535358"/>
            <a:ext cx="1508760" cy="320040"/>
          </a:xfrm>
          <a:prstGeom prst="rect">
            <a:avLst/>
          </a:prstGeom>
          <a:solidFill>
            <a:srgbClr val="0D6B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3, G-107, B-147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97C47CF-C5CA-4DAB-BAE8-D732D437756D}"/>
              </a:ext>
            </a:extLst>
          </p:cNvPr>
          <p:cNvSpPr>
            <a:spLocks/>
          </p:cNvSpPr>
          <p:nvPr userDrawn="1"/>
        </p:nvSpPr>
        <p:spPr>
          <a:xfrm>
            <a:off x="-1644316" y="5051897"/>
            <a:ext cx="1508760" cy="320040"/>
          </a:xfrm>
          <a:prstGeom prst="rect">
            <a:avLst/>
          </a:prstGeom>
          <a:solidFill>
            <a:srgbClr val="2198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33, G-152, B-17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D1A48BF-989E-4861-852B-CA9D0CFF7A9D}"/>
              </a:ext>
            </a:extLst>
          </p:cNvPr>
          <p:cNvSpPr>
            <a:spLocks/>
          </p:cNvSpPr>
          <p:nvPr userDrawn="1"/>
        </p:nvSpPr>
        <p:spPr>
          <a:xfrm>
            <a:off x="-1644316" y="3029845"/>
            <a:ext cx="1508760" cy="320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08, G-232, B-248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CDA0D97-901F-4A04-9E25-DB6273E3D338}"/>
              </a:ext>
            </a:extLst>
          </p:cNvPr>
          <p:cNvSpPr>
            <a:spLocks/>
          </p:cNvSpPr>
          <p:nvPr userDrawn="1"/>
        </p:nvSpPr>
        <p:spPr>
          <a:xfrm>
            <a:off x="12269558" y="0"/>
            <a:ext cx="1508760" cy="32004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0, G-0, B-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4561A7F-578B-4085-8813-2424478A6550}"/>
              </a:ext>
            </a:extLst>
          </p:cNvPr>
          <p:cNvSpPr>
            <a:spLocks/>
          </p:cNvSpPr>
          <p:nvPr userDrawn="1"/>
        </p:nvSpPr>
        <p:spPr>
          <a:xfrm>
            <a:off x="12269558" y="494714"/>
            <a:ext cx="1508760" cy="320040"/>
          </a:xfrm>
          <a:prstGeom prst="rect">
            <a:avLst/>
          </a:prstGeom>
          <a:solidFill>
            <a:srgbClr val="5F5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95, G-95, B-95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2A3AB9-9530-4C6C-98E2-FC51479F4641}"/>
              </a:ext>
            </a:extLst>
          </p:cNvPr>
          <p:cNvSpPr>
            <a:spLocks/>
          </p:cNvSpPr>
          <p:nvPr userDrawn="1"/>
        </p:nvSpPr>
        <p:spPr>
          <a:xfrm>
            <a:off x="12269558" y="989428"/>
            <a:ext cx="1508760" cy="320040"/>
          </a:xfrm>
          <a:prstGeom prst="rect">
            <a:avLst/>
          </a:prstGeom>
          <a:solidFill>
            <a:srgbClr val="BCBC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188, G-188, B-188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0927170-83F6-4E3B-A47A-1A4777305062}"/>
              </a:ext>
            </a:extLst>
          </p:cNvPr>
          <p:cNvSpPr>
            <a:spLocks/>
          </p:cNvSpPr>
          <p:nvPr userDrawn="1"/>
        </p:nvSpPr>
        <p:spPr>
          <a:xfrm>
            <a:off x="12269558" y="1484142"/>
            <a:ext cx="1508760" cy="32004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ysClr val="windowText" lastClr="000000"/>
                </a:solidFill>
              </a:rPr>
              <a:t>R-235, G-235, B-235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B08C7C0-5523-4A14-AB6A-B6178AF4E2B1}"/>
              </a:ext>
            </a:extLst>
          </p:cNvPr>
          <p:cNvSpPr>
            <a:spLocks/>
          </p:cNvSpPr>
          <p:nvPr userDrawn="1"/>
        </p:nvSpPr>
        <p:spPr>
          <a:xfrm>
            <a:off x="-1644316" y="4546384"/>
            <a:ext cx="1508760" cy="32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42, G-232, B-211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847E51C-ECAD-49BD-A2CE-6B080C03E570}"/>
              </a:ext>
            </a:extLst>
          </p:cNvPr>
          <p:cNvSpPr>
            <a:spLocks/>
          </p:cNvSpPr>
          <p:nvPr userDrawn="1"/>
        </p:nvSpPr>
        <p:spPr>
          <a:xfrm>
            <a:off x="-1644316" y="5557410"/>
            <a:ext cx="1508760" cy="3200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ysClr val="windowText" lastClr="000000"/>
                </a:solidFill>
              </a:rPr>
              <a:t>R-196, G-234, B-240</a:t>
            </a:r>
          </a:p>
        </p:txBody>
      </p:sp>
    </p:spTree>
    <p:extLst>
      <p:ext uri="{BB962C8B-B14F-4D97-AF65-F5344CB8AC3E}">
        <p14:creationId xmlns:p14="http://schemas.microsoft.com/office/powerpoint/2010/main" val="2378566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 with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6644640" cy="539496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7559040" y="1341732"/>
            <a:ext cx="4328160" cy="5059067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259767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H="1">
            <a:off x="7570095" y="1279792"/>
            <a:ext cx="432816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21"/>
          </p:nvPr>
        </p:nvSpPr>
        <p:spPr>
          <a:xfrm>
            <a:off x="7570095" y="1031234"/>
            <a:ext cx="432816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17204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, Text &amp; Chart with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4937760" y="15179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93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242560" y="1906918"/>
            <a:ext cx="6644640" cy="4457309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304800" y="1517904"/>
            <a:ext cx="4328160" cy="4846320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5242560" y="1840382"/>
            <a:ext cx="664464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idx="21"/>
          </p:nvPr>
        </p:nvSpPr>
        <p:spPr>
          <a:xfrm>
            <a:off x="5242560" y="1591824"/>
            <a:ext cx="664464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897306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, Text &amp;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6"/>
            <a:ext cx="5486400" cy="2249424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400800" y="4202443"/>
            <a:ext cx="5486400" cy="2249424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039864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6400800" y="3874995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5"/>
            <a:ext cx="5486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1427531"/>
            <a:ext cx="5486400" cy="5024336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096000" y="1005840"/>
            <a:ext cx="0" cy="54864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427988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6"/>
            <a:ext cx="5486400" cy="2249424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400800" y="4202443"/>
            <a:ext cx="5486400" cy="2249424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039864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6400800" y="3874995"/>
            <a:ext cx="5486400" cy="260469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105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980615"/>
            <a:ext cx="5486400" cy="5471252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096000" y="996650"/>
            <a:ext cx="0" cy="54864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2503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ext and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4276277"/>
            <a:ext cx="5486400" cy="2048256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4276277"/>
            <a:ext cx="5486400" cy="2048256"/>
          </a:xfrm>
        </p:spPr>
        <p:txBody>
          <a:bodyPr/>
          <a:lstStyle>
            <a:lvl1pPr marL="0" indent="0">
              <a:buNone/>
              <a:defRPr sz="75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3855653"/>
            <a:ext cx="0" cy="246888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4201800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4201800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5"/>
            <a:ext cx="11582400" cy="285861"/>
          </a:xfrm>
        </p:spPr>
        <p:txBody>
          <a:bodyPr vert="horz" wrap="square" lIns="0" tIns="40964" rIns="0" bIns="40964" rtlCol="0" anchor="t">
            <a:spAutoFit/>
          </a:bodyPr>
          <a:lstStyle>
            <a:lvl1pPr marL="116279" indent="-116279">
              <a:buNone/>
              <a:defRPr lang="en-US" sz="1200" b="0" dirty="0" smtClean="0"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3978635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/>
          </p:nvPr>
        </p:nvSpPr>
        <p:spPr>
          <a:xfrm>
            <a:off x="6400800" y="3978635"/>
            <a:ext cx="5486400" cy="235077"/>
          </a:xfrm>
        </p:spPr>
        <p:txBody>
          <a:bodyPr vert="horz" wrap="square" lIns="0" tIns="40964" rIns="0" bIns="40964" rtlCol="0" anchor="b">
            <a:spAutoFit/>
          </a:bodyPr>
          <a:lstStyle>
            <a:lvl1pPr marL="116279" indent="-116279">
              <a:buNone/>
              <a:defRPr lang="en-US" sz="9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40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304800" y="1427536"/>
            <a:ext cx="11582400" cy="2314401"/>
          </a:xfrm>
        </p:spPr>
        <p:txBody>
          <a:bodyPr/>
          <a:lstStyle>
            <a:lvl1pPr marL="115232" indent="-115232"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  <a:lvl2pPr marL="230463" indent="-115232">
              <a:spcBef>
                <a:spcPts val="45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900">
                <a:solidFill>
                  <a:schemeClr val="tx1"/>
                </a:solidFill>
                <a:latin typeface="+mn-lt"/>
              </a:defRPr>
            </a:lvl2pPr>
            <a:lvl3pPr marL="317687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3pPr>
            <a:lvl4pPr marL="404911" indent="-87224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488934" indent="-84023">
              <a:spcBef>
                <a:spcPts val="15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452262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47913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object 11"/>
          <p:cNvSpPr txBox="1"/>
          <p:nvPr/>
        </p:nvSpPr>
        <p:spPr>
          <a:xfrm>
            <a:off x="763937" y="3989527"/>
            <a:ext cx="10664135" cy="37997"/>
          </a:xfrm>
          <a:prstGeom prst="rect">
            <a:avLst/>
          </a:prstGeom>
          <a:solidFill>
            <a:srgbClr val="78A9DE"/>
          </a:solidFill>
          <a:ln w="19050">
            <a:solidFill>
              <a:srgbClr val="78A9DE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69069" algn="ctr">
              <a:lnSpc>
                <a:spcPct val="100000"/>
              </a:lnSpc>
            </a:pPr>
            <a:endParaRPr sz="900" dirty="0">
              <a:latin typeface="+mj-lt"/>
              <a:cs typeface="Arial Unicode MS"/>
            </a:endParaRPr>
          </a:p>
        </p:txBody>
      </p:sp>
      <p:sp>
        <p:nvSpPr>
          <p:cNvPr id="10" name="Title 1"/>
          <p:cNvSpPr>
            <a:spLocks noGrp="1"/>
          </p:cNvSpPr>
          <p:nvPr userDrawn="1">
            <p:ph type="title"/>
          </p:nvPr>
        </p:nvSpPr>
        <p:spPr>
          <a:xfrm>
            <a:off x="762000" y="2593105"/>
            <a:ext cx="10668000" cy="1362075"/>
          </a:xfrm>
          <a:solidFill>
            <a:schemeClr val="tx2"/>
          </a:solidFill>
        </p:spPr>
        <p:txBody>
          <a:bodyPr lIns="182880" tIns="182880" rIns="182880" bIns="182880" anchor="ctr"/>
          <a:lstStyle>
            <a:lvl1pPr algn="ctr">
              <a:defRPr sz="3000" b="0" cap="all">
                <a:solidFill>
                  <a:schemeClr val="bg1"/>
                </a:solidFill>
              </a:defRPr>
            </a:lvl1pPr>
          </a:lstStyle>
          <a:p>
            <a:r>
              <a:rPr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532932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1003528"/>
            <a:ext cx="11582400" cy="5567683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925372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1003528"/>
            <a:ext cx="11582400" cy="556768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15364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307284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42358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53988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351387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6"/>
          </p:nvPr>
        </p:nvSpPr>
        <p:spPr>
          <a:xfrm>
            <a:off x="304800" y="1412218"/>
            <a:ext cx="11582400" cy="5158992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9913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 - Alternate Colorwa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062010E-9DE2-40E4-A25A-EA14DF656381}"/>
              </a:ext>
            </a:extLst>
          </p:cNvPr>
          <p:cNvSpPr txBox="1">
            <a:spLocks/>
          </p:cNvSpPr>
          <p:nvPr userDrawn="1"/>
        </p:nvSpPr>
        <p:spPr>
          <a:xfrm>
            <a:off x="9686600" y="6418490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TRADE SECRET &amp; STRICTLY CONFIDENTI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F91DFF-39F0-464A-9BB6-3BE65EA08D9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A3FD7F2-E603-49C0-8304-29ADE6298515}"/>
              </a:ext>
            </a:extLst>
          </p:cNvPr>
          <p:cNvSpPr txBox="1">
            <a:spLocks/>
          </p:cNvSpPr>
          <p:nvPr userDrawn="1"/>
        </p:nvSpPr>
        <p:spPr>
          <a:xfrm>
            <a:off x="9686600" y="6418490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TRADE SECRET &amp; STRICTLY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28301E-7F67-453F-AB29-6E7721217E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6156" y="1513647"/>
            <a:ext cx="9522041" cy="4039339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45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auctor. Donec dictum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non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vel </a:t>
            </a:r>
            <a:r>
              <a:rPr lang="en-US" dirty="0" err="1"/>
              <a:t>neq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neque</a:t>
            </a:r>
            <a:r>
              <a:rPr lang="en-US" dirty="0"/>
              <a:t> ante, </a:t>
            </a:r>
            <a:r>
              <a:rPr lang="en-US" dirty="0" err="1"/>
              <a:t>ut</a:t>
            </a:r>
            <a:r>
              <a:rPr lang="en-US" dirty="0"/>
              <a:t> lacinia </a:t>
            </a:r>
            <a:r>
              <a:rPr lang="en-US" dirty="0" err="1"/>
              <a:t>justo</a:t>
            </a:r>
            <a:r>
              <a:rPr lang="en-US" dirty="0"/>
              <a:t> dictum </a:t>
            </a:r>
            <a:r>
              <a:rPr lang="en-US" dirty="0" err="1"/>
              <a:t>quis</a:t>
            </a:r>
            <a:r>
              <a:rPr lang="en-US" dirty="0"/>
              <a:t>. Cras vitae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, semper dolor </a:t>
            </a:r>
            <a:r>
              <a:rPr lang="en-US" dirty="0" err="1"/>
              <a:t>rhoncus</a:t>
            </a:r>
            <a:r>
              <a:rPr lang="en-US" dirty="0"/>
              <a:t>, pulvinar </a:t>
            </a:r>
            <a:r>
              <a:rPr lang="en-US" dirty="0" err="1"/>
              <a:t>orci</a:t>
            </a:r>
            <a:r>
              <a:rPr lang="en-US" dirty="0"/>
              <a:t>.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03145326-0BDC-441D-943F-11DB8CAAAB0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96156" y="875534"/>
            <a:ext cx="2633473" cy="276081"/>
          </a:xfrm>
        </p:spPr>
        <p:txBody>
          <a:bodyPr>
            <a:noAutofit/>
          </a:bodyPr>
          <a:lstStyle>
            <a:lvl1pPr marL="0" indent="0" algn="l">
              <a:buNone/>
              <a:defRPr sz="14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0AE6A30-9D4E-4AF8-9A3F-C68FCDFF5FB9}"/>
              </a:ext>
            </a:extLst>
          </p:cNvPr>
          <p:cNvSpPr>
            <a:spLocks/>
          </p:cNvSpPr>
          <p:nvPr userDrawn="1"/>
        </p:nvSpPr>
        <p:spPr>
          <a:xfrm>
            <a:off x="-1644316" y="494714"/>
            <a:ext cx="1508760" cy="320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171, G-132, B-5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AFC199-8B45-4B5E-8A73-3947752216FA}"/>
              </a:ext>
            </a:extLst>
          </p:cNvPr>
          <p:cNvSpPr>
            <a:spLocks/>
          </p:cNvSpPr>
          <p:nvPr userDrawn="1"/>
        </p:nvSpPr>
        <p:spPr>
          <a:xfrm>
            <a:off x="-1644316" y="1484142"/>
            <a:ext cx="1508760" cy="32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8, G-132, B-156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BB734F-9272-46BC-8EC8-9E935B882CC4}"/>
              </a:ext>
            </a:extLst>
          </p:cNvPr>
          <p:cNvSpPr>
            <a:spLocks/>
          </p:cNvSpPr>
          <p:nvPr userDrawn="1"/>
        </p:nvSpPr>
        <p:spPr>
          <a:xfrm>
            <a:off x="-1644316" y="2018819"/>
            <a:ext cx="1508760" cy="320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97, G-161, B-22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C55535-B70E-4C2E-80A5-D4A22528B64A}"/>
              </a:ext>
            </a:extLst>
          </p:cNvPr>
          <p:cNvSpPr>
            <a:spLocks/>
          </p:cNvSpPr>
          <p:nvPr userDrawn="1"/>
        </p:nvSpPr>
        <p:spPr>
          <a:xfrm>
            <a:off x="-1644316" y="-3233"/>
            <a:ext cx="1508760" cy="320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, G-54, B-7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46D72A-5F25-4C3A-BF0F-749636130F86}"/>
              </a:ext>
            </a:extLst>
          </p:cNvPr>
          <p:cNvSpPr>
            <a:spLocks/>
          </p:cNvSpPr>
          <p:nvPr userDrawn="1"/>
        </p:nvSpPr>
        <p:spPr>
          <a:xfrm>
            <a:off x="-1644316" y="989428"/>
            <a:ext cx="1508760" cy="320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29, G-101, B-11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35FA180-E2D9-4700-925E-09A7F0C2233F}"/>
              </a:ext>
            </a:extLst>
          </p:cNvPr>
          <p:cNvSpPr>
            <a:spLocks/>
          </p:cNvSpPr>
          <p:nvPr userDrawn="1"/>
        </p:nvSpPr>
        <p:spPr>
          <a:xfrm>
            <a:off x="-1644316" y="2524332"/>
            <a:ext cx="1508760" cy="3200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82, G-231, B-25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E5C6A31-A59D-4598-BA17-68895A8B36A2}"/>
              </a:ext>
            </a:extLst>
          </p:cNvPr>
          <p:cNvSpPr>
            <a:spLocks/>
          </p:cNvSpPr>
          <p:nvPr userDrawn="1"/>
        </p:nvSpPr>
        <p:spPr>
          <a:xfrm>
            <a:off x="-1644317" y="4040871"/>
            <a:ext cx="1508760" cy="32004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15, G-185, B-12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EDDD2D-5EB5-4059-A475-B745444F7EA2}"/>
              </a:ext>
            </a:extLst>
          </p:cNvPr>
          <p:cNvSpPr>
            <a:spLocks/>
          </p:cNvSpPr>
          <p:nvPr userDrawn="1"/>
        </p:nvSpPr>
        <p:spPr>
          <a:xfrm>
            <a:off x="-1644316" y="6062923"/>
            <a:ext cx="1508760" cy="32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96, G-206, B-215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ACFA088-8983-4DA1-BA91-4C5E4F85DFDB}"/>
              </a:ext>
            </a:extLst>
          </p:cNvPr>
          <p:cNvSpPr>
            <a:spLocks/>
          </p:cNvSpPr>
          <p:nvPr userDrawn="1"/>
        </p:nvSpPr>
        <p:spPr>
          <a:xfrm>
            <a:off x="-1644316" y="6568439"/>
            <a:ext cx="1508760" cy="320040"/>
          </a:xfrm>
          <a:prstGeom prst="rect">
            <a:avLst/>
          </a:prstGeom>
          <a:solidFill>
            <a:srgbClr val="A3CC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71, G-202, B-24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CC77AE1-B457-4666-AB29-5F70A3D1C491}"/>
              </a:ext>
            </a:extLst>
          </p:cNvPr>
          <p:cNvSpPr>
            <a:spLocks/>
          </p:cNvSpPr>
          <p:nvPr userDrawn="1"/>
        </p:nvSpPr>
        <p:spPr>
          <a:xfrm>
            <a:off x="-1639066" y="3535358"/>
            <a:ext cx="1508760" cy="320040"/>
          </a:xfrm>
          <a:prstGeom prst="rect">
            <a:avLst/>
          </a:prstGeom>
          <a:solidFill>
            <a:srgbClr val="0D6B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3, G-107, B-147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0941728-42D1-447A-B0C5-F758E105AA03}"/>
              </a:ext>
            </a:extLst>
          </p:cNvPr>
          <p:cNvSpPr>
            <a:spLocks/>
          </p:cNvSpPr>
          <p:nvPr userDrawn="1"/>
        </p:nvSpPr>
        <p:spPr>
          <a:xfrm>
            <a:off x="-1644316" y="5051897"/>
            <a:ext cx="1508760" cy="320040"/>
          </a:xfrm>
          <a:prstGeom prst="rect">
            <a:avLst/>
          </a:prstGeom>
          <a:solidFill>
            <a:srgbClr val="2198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33, G-152, B-17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AE3FA7C-6869-4B1E-B91A-C16B0997B45D}"/>
              </a:ext>
            </a:extLst>
          </p:cNvPr>
          <p:cNvSpPr>
            <a:spLocks/>
          </p:cNvSpPr>
          <p:nvPr userDrawn="1"/>
        </p:nvSpPr>
        <p:spPr>
          <a:xfrm>
            <a:off x="-1644316" y="3029845"/>
            <a:ext cx="1508760" cy="320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08, G-232, B-248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BBF65B9-2EFD-4024-BB8C-A424FE954B42}"/>
              </a:ext>
            </a:extLst>
          </p:cNvPr>
          <p:cNvSpPr>
            <a:spLocks/>
          </p:cNvSpPr>
          <p:nvPr userDrawn="1"/>
        </p:nvSpPr>
        <p:spPr>
          <a:xfrm>
            <a:off x="12269558" y="0"/>
            <a:ext cx="1508760" cy="32004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0, G-0, B-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62D0A40-7637-49ED-BE45-D734099AE413}"/>
              </a:ext>
            </a:extLst>
          </p:cNvPr>
          <p:cNvSpPr>
            <a:spLocks/>
          </p:cNvSpPr>
          <p:nvPr userDrawn="1"/>
        </p:nvSpPr>
        <p:spPr>
          <a:xfrm>
            <a:off x="12269558" y="494714"/>
            <a:ext cx="1508760" cy="320040"/>
          </a:xfrm>
          <a:prstGeom prst="rect">
            <a:avLst/>
          </a:prstGeom>
          <a:solidFill>
            <a:srgbClr val="5F5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95, G-95, B-95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E517811-95E2-4CC0-86CD-08D9EF761712}"/>
              </a:ext>
            </a:extLst>
          </p:cNvPr>
          <p:cNvSpPr>
            <a:spLocks/>
          </p:cNvSpPr>
          <p:nvPr userDrawn="1"/>
        </p:nvSpPr>
        <p:spPr>
          <a:xfrm>
            <a:off x="12269558" y="989428"/>
            <a:ext cx="1508760" cy="320040"/>
          </a:xfrm>
          <a:prstGeom prst="rect">
            <a:avLst/>
          </a:prstGeom>
          <a:solidFill>
            <a:srgbClr val="BCBC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188, G-188, B-188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73DC6F1-30E6-4345-8FAA-6072894B9BCE}"/>
              </a:ext>
            </a:extLst>
          </p:cNvPr>
          <p:cNvSpPr>
            <a:spLocks/>
          </p:cNvSpPr>
          <p:nvPr userDrawn="1"/>
        </p:nvSpPr>
        <p:spPr>
          <a:xfrm>
            <a:off x="12269558" y="1484142"/>
            <a:ext cx="1508760" cy="32004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ysClr val="windowText" lastClr="000000"/>
                </a:solidFill>
              </a:rPr>
              <a:t>R-235, G-235, B-235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5CFCBA-ADB4-4E0F-A1DF-1999F30AAA20}"/>
              </a:ext>
            </a:extLst>
          </p:cNvPr>
          <p:cNvSpPr>
            <a:spLocks/>
          </p:cNvSpPr>
          <p:nvPr userDrawn="1"/>
        </p:nvSpPr>
        <p:spPr>
          <a:xfrm>
            <a:off x="-1644316" y="4546384"/>
            <a:ext cx="1508760" cy="32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42, G-232, B-211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BB5B78F-ADE4-4289-8291-5DA88D1E2658}"/>
              </a:ext>
            </a:extLst>
          </p:cNvPr>
          <p:cNvSpPr>
            <a:spLocks/>
          </p:cNvSpPr>
          <p:nvPr userDrawn="1"/>
        </p:nvSpPr>
        <p:spPr>
          <a:xfrm>
            <a:off x="-1644316" y="5557410"/>
            <a:ext cx="1508760" cy="3200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ysClr val="windowText" lastClr="000000"/>
                </a:solidFill>
              </a:rPr>
              <a:t>R-196, G-234, B-240</a:t>
            </a:r>
          </a:p>
        </p:txBody>
      </p:sp>
    </p:spTree>
    <p:extLst>
      <p:ext uri="{BB962C8B-B14F-4D97-AF65-F5344CB8AC3E}">
        <p14:creationId xmlns:p14="http://schemas.microsoft.com/office/powerpoint/2010/main" val="1011697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Char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11582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304800" y="1715757"/>
            <a:ext cx="11582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1407950"/>
            <a:ext cx="11582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816601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19685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65640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15886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96000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441924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19225"/>
            <a:ext cx="5486400" cy="4981575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419224"/>
            <a:ext cx="5486400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6400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304800" y="133476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400800" y="133476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15390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458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04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6400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044302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19225"/>
            <a:ext cx="5486400" cy="4981575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419224"/>
            <a:ext cx="5486400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6400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31815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Tabl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458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/>
          </p:nvPr>
        </p:nvSpPr>
        <p:spPr>
          <a:xfrm>
            <a:off x="6400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558920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3450336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005840"/>
            <a:ext cx="3450336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005840"/>
            <a:ext cx="3450336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711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062010E-9DE2-40E4-A25A-EA14DF656381}"/>
              </a:ext>
            </a:extLst>
          </p:cNvPr>
          <p:cNvSpPr txBox="1">
            <a:spLocks/>
          </p:cNvSpPr>
          <p:nvPr userDrawn="1"/>
        </p:nvSpPr>
        <p:spPr>
          <a:xfrm>
            <a:off x="9686600" y="6418490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TRADE SECRET &amp; STRICTLY CONFIDENTI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F91DFF-39F0-464A-9BB6-3BE65EA08D97}"/>
              </a:ext>
            </a:extLst>
          </p:cNvPr>
          <p:cNvSpPr/>
          <p:nvPr userDrawn="1"/>
        </p:nvSpPr>
        <p:spPr>
          <a:xfrm>
            <a:off x="0" y="813916"/>
            <a:ext cx="12192000" cy="6044084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A3FD7F2-E603-49C0-8304-29ADE6298515}"/>
              </a:ext>
            </a:extLst>
          </p:cNvPr>
          <p:cNvSpPr txBox="1">
            <a:spLocks/>
          </p:cNvSpPr>
          <p:nvPr userDrawn="1"/>
        </p:nvSpPr>
        <p:spPr>
          <a:xfrm>
            <a:off x="9686600" y="6418490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TRADE SECRET &amp; STRICTLY CONFIDENTIA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489AF3C-9B92-4F46-89D7-0BE96BCD562A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1" y="0"/>
            <a:ext cx="5459766" cy="6858000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28301E-7F67-453F-AB29-6E7721217E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44323" y="2418560"/>
            <a:ext cx="4563121" cy="2481304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4000"/>
              </a:lnSpc>
              <a:defRPr sz="2400" b="1"/>
            </a:lvl1pPr>
          </a:lstStyle>
          <a:p>
            <a:r>
              <a:rPr lang="en-US" dirty="0"/>
              <a:t>Lorem ipsum dolor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vehicular is auctor. Donec dictum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03145326-0BDC-441D-943F-11DB8CAAAB0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7509147" y="1780381"/>
            <a:ext cx="2633473" cy="276081"/>
          </a:xfrm>
        </p:spPr>
        <p:txBody>
          <a:bodyPr>
            <a:noAutofit/>
          </a:bodyPr>
          <a:lstStyle>
            <a:lvl1pPr marL="0" indent="0" algn="ctr">
              <a:buNone/>
              <a:defRPr sz="1400" b="1" spc="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C67B6-9A1C-4A46-9861-249F536FEE17}"/>
              </a:ext>
            </a:extLst>
          </p:cNvPr>
          <p:cNvSpPr>
            <a:spLocks/>
          </p:cNvSpPr>
          <p:nvPr userDrawn="1"/>
        </p:nvSpPr>
        <p:spPr>
          <a:xfrm>
            <a:off x="-1644316" y="494714"/>
            <a:ext cx="1508760" cy="320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171, G-132, B-5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681B96-0893-464D-8B12-DE6267922444}"/>
              </a:ext>
            </a:extLst>
          </p:cNvPr>
          <p:cNvSpPr>
            <a:spLocks/>
          </p:cNvSpPr>
          <p:nvPr userDrawn="1"/>
        </p:nvSpPr>
        <p:spPr>
          <a:xfrm>
            <a:off x="-1644316" y="1484142"/>
            <a:ext cx="1508760" cy="32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8, G-132, B-156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A04A65-199E-41F3-9775-7D621B13D310}"/>
              </a:ext>
            </a:extLst>
          </p:cNvPr>
          <p:cNvSpPr>
            <a:spLocks/>
          </p:cNvSpPr>
          <p:nvPr userDrawn="1"/>
        </p:nvSpPr>
        <p:spPr>
          <a:xfrm>
            <a:off x="-1644316" y="2018819"/>
            <a:ext cx="1508760" cy="320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97, G-161, B-22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80E8A7-B2F2-4806-93F4-4297DD2E8D39}"/>
              </a:ext>
            </a:extLst>
          </p:cNvPr>
          <p:cNvSpPr>
            <a:spLocks/>
          </p:cNvSpPr>
          <p:nvPr userDrawn="1"/>
        </p:nvSpPr>
        <p:spPr>
          <a:xfrm>
            <a:off x="-1644316" y="-3233"/>
            <a:ext cx="1508760" cy="320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, G-54, B-74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031CC64-AC8A-48CD-A250-4BBD09235158}"/>
              </a:ext>
            </a:extLst>
          </p:cNvPr>
          <p:cNvSpPr>
            <a:spLocks/>
          </p:cNvSpPr>
          <p:nvPr userDrawn="1"/>
        </p:nvSpPr>
        <p:spPr>
          <a:xfrm>
            <a:off x="-1644316" y="989428"/>
            <a:ext cx="1508760" cy="320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29, G-101, B-11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D0DEE1-6C24-4092-B678-17F7303C91C2}"/>
              </a:ext>
            </a:extLst>
          </p:cNvPr>
          <p:cNvSpPr>
            <a:spLocks/>
          </p:cNvSpPr>
          <p:nvPr userDrawn="1"/>
        </p:nvSpPr>
        <p:spPr>
          <a:xfrm>
            <a:off x="-1644316" y="2524332"/>
            <a:ext cx="1508760" cy="3200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82, G-231, B-25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5CA0624-E86D-4405-8F53-1A7B7FCBE726}"/>
              </a:ext>
            </a:extLst>
          </p:cNvPr>
          <p:cNvSpPr>
            <a:spLocks/>
          </p:cNvSpPr>
          <p:nvPr userDrawn="1"/>
        </p:nvSpPr>
        <p:spPr>
          <a:xfrm>
            <a:off x="-1644317" y="4040871"/>
            <a:ext cx="1508760" cy="32004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15, G-185, B-12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1FFA856-E87C-4F3C-824F-A6FB2E6F3E41}"/>
              </a:ext>
            </a:extLst>
          </p:cNvPr>
          <p:cNvSpPr>
            <a:spLocks/>
          </p:cNvSpPr>
          <p:nvPr userDrawn="1"/>
        </p:nvSpPr>
        <p:spPr>
          <a:xfrm>
            <a:off x="-1644316" y="6062923"/>
            <a:ext cx="1508760" cy="32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96, G-206, B-215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E1DC47A-F7AE-4B94-AFDB-CF7017D92732}"/>
              </a:ext>
            </a:extLst>
          </p:cNvPr>
          <p:cNvSpPr>
            <a:spLocks/>
          </p:cNvSpPr>
          <p:nvPr userDrawn="1"/>
        </p:nvSpPr>
        <p:spPr>
          <a:xfrm>
            <a:off x="-1644316" y="6568439"/>
            <a:ext cx="1508760" cy="320040"/>
          </a:xfrm>
          <a:prstGeom prst="rect">
            <a:avLst/>
          </a:prstGeom>
          <a:solidFill>
            <a:srgbClr val="A3CC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71, G-202, B-243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AA2C12E-B267-4F48-9DB0-6B9F3E8F0237}"/>
              </a:ext>
            </a:extLst>
          </p:cNvPr>
          <p:cNvSpPr>
            <a:spLocks/>
          </p:cNvSpPr>
          <p:nvPr userDrawn="1"/>
        </p:nvSpPr>
        <p:spPr>
          <a:xfrm>
            <a:off x="-1639066" y="3535358"/>
            <a:ext cx="1508760" cy="320040"/>
          </a:xfrm>
          <a:prstGeom prst="rect">
            <a:avLst/>
          </a:prstGeom>
          <a:solidFill>
            <a:srgbClr val="0D6B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3, G-107, B-147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42E0734-E2DA-4CF6-B23C-EF39E6D024D0}"/>
              </a:ext>
            </a:extLst>
          </p:cNvPr>
          <p:cNvSpPr>
            <a:spLocks/>
          </p:cNvSpPr>
          <p:nvPr userDrawn="1"/>
        </p:nvSpPr>
        <p:spPr>
          <a:xfrm>
            <a:off x="-1644316" y="5051897"/>
            <a:ext cx="1508760" cy="320040"/>
          </a:xfrm>
          <a:prstGeom prst="rect">
            <a:avLst/>
          </a:prstGeom>
          <a:solidFill>
            <a:srgbClr val="2198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33, G-152, B-17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B3CF020-2516-4DB6-BFFE-B2471C8B4784}"/>
              </a:ext>
            </a:extLst>
          </p:cNvPr>
          <p:cNvSpPr>
            <a:spLocks/>
          </p:cNvSpPr>
          <p:nvPr userDrawn="1"/>
        </p:nvSpPr>
        <p:spPr>
          <a:xfrm>
            <a:off x="-1644316" y="3029845"/>
            <a:ext cx="1508760" cy="320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08, G-232, B-248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D2CC4F1-013B-44A0-BE81-14F3B9064E67}"/>
              </a:ext>
            </a:extLst>
          </p:cNvPr>
          <p:cNvSpPr>
            <a:spLocks/>
          </p:cNvSpPr>
          <p:nvPr userDrawn="1"/>
        </p:nvSpPr>
        <p:spPr>
          <a:xfrm>
            <a:off x="12269558" y="0"/>
            <a:ext cx="1508760" cy="32004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0, G-0, B-0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18DFE5B-5E41-413F-BDBD-08BFB1C82B4E}"/>
              </a:ext>
            </a:extLst>
          </p:cNvPr>
          <p:cNvSpPr>
            <a:spLocks/>
          </p:cNvSpPr>
          <p:nvPr userDrawn="1"/>
        </p:nvSpPr>
        <p:spPr>
          <a:xfrm>
            <a:off x="12269558" y="494714"/>
            <a:ext cx="1508760" cy="320040"/>
          </a:xfrm>
          <a:prstGeom prst="rect">
            <a:avLst/>
          </a:prstGeom>
          <a:solidFill>
            <a:srgbClr val="5F5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95, G-95, B-95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306610B-BD9E-48B3-AC50-BBC8BFDC05F1}"/>
              </a:ext>
            </a:extLst>
          </p:cNvPr>
          <p:cNvSpPr>
            <a:spLocks/>
          </p:cNvSpPr>
          <p:nvPr userDrawn="1"/>
        </p:nvSpPr>
        <p:spPr>
          <a:xfrm>
            <a:off x="12269558" y="989428"/>
            <a:ext cx="1508760" cy="320040"/>
          </a:xfrm>
          <a:prstGeom prst="rect">
            <a:avLst/>
          </a:prstGeom>
          <a:solidFill>
            <a:srgbClr val="BCBC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188, G-188, B-188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A470395-8093-4378-9761-360B647418E5}"/>
              </a:ext>
            </a:extLst>
          </p:cNvPr>
          <p:cNvSpPr>
            <a:spLocks/>
          </p:cNvSpPr>
          <p:nvPr userDrawn="1"/>
        </p:nvSpPr>
        <p:spPr>
          <a:xfrm>
            <a:off x="12269558" y="1484142"/>
            <a:ext cx="1508760" cy="32004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ysClr val="windowText" lastClr="000000"/>
                </a:solidFill>
              </a:rPr>
              <a:t>R-235, G-235, B-235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9655351-DC3F-4108-BECD-48A26CE446FA}"/>
              </a:ext>
            </a:extLst>
          </p:cNvPr>
          <p:cNvSpPr>
            <a:spLocks/>
          </p:cNvSpPr>
          <p:nvPr userDrawn="1"/>
        </p:nvSpPr>
        <p:spPr>
          <a:xfrm>
            <a:off x="-1644316" y="4546384"/>
            <a:ext cx="1508760" cy="32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42, G-232, B-211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C3DFDC6-D745-4D5C-A30F-5BF8684A4A9C}"/>
              </a:ext>
            </a:extLst>
          </p:cNvPr>
          <p:cNvSpPr>
            <a:spLocks/>
          </p:cNvSpPr>
          <p:nvPr userDrawn="1"/>
        </p:nvSpPr>
        <p:spPr>
          <a:xfrm>
            <a:off x="-1644316" y="5557410"/>
            <a:ext cx="1508760" cy="3200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ysClr val="windowText" lastClr="000000"/>
                </a:solidFill>
              </a:rPr>
              <a:t>R-196, G-234, B-240</a:t>
            </a:r>
          </a:p>
        </p:txBody>
      </p:sp>
    </p:spTree>
    <p:extLst>
      <p:ext uri="{BB962C8B-B14F-4D97-AF65-F5344CB8AC3E}">
        <p14:creationId xmlns:p14="http://schemas.microsoft.com/office/powerpoint/2010/main" val="3138676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647226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949095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419224"/>
            <a:ext cx="3450336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419224"/>
            <a:ext cx="3450336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04800" y="1419225"/>
            <a:ext cx="3450336" cy="4981575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3450336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304800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17"/>
          </p:nvPr>
        </p:nvSpPr>
        <p:spPr>
          <a:xfrm>
            <a:off x="4370831" y="1005841"/>
            <a:ext cx="3450336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4370831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8"/>
          </p:nvPr>
        </p:nvSpPr>
        <p:spPr>
          <a:xfrm>
            <a:off x="8436861" y="1005841"/>
            <a:ext cx="3450336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8436861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103449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743055"/>
            <a:ext cx="3450336" cy="4621169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743055"/>
            <a:ext cx="3450336" cy="4621169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743055"/>
            <a:ext cx="3450336" cy="4621169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04800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4370832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07950"/>
            <a:ext cx="3450336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4"/>
          </p:nvPr>
        </p:nvSpPr>
        <p:spPr>
          <a:xfrm>
            <a:off x="4370832" y="1407950"/>
            <a:ext cx="3450336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8436863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5"/>
          </p:nvPr>
        </p:nvSpPr>
        <p:spPr>
          <a:xfrm>
            <a:off x="8436863" y="1407950"/>
            <a:ext cx="3450336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82259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Layou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0584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05840"/>
            <a:ext cx="5486400" cy="539088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51219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Layou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359478"/>
            <a:ext cx="5486400" cy="224641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7"/>
            <a:ext cx="5486400" cy="5037251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4147303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304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3"/>
          </p:nvPr>
        </p:nvSpPr>
        <p:spPr>
          <a:xfrm>
            <a:off x="304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304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304800" y="3815747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399600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 with Sub-Header &amp;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768657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768657"/>
            <a:ext cx="5486400" cy="471595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381494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304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/>
          <p:cNvSpPr>
            <a:spLocks noGrp="1"/>
          </p:cNvSpPr>
          <p:nvPr>
            <p:ph type="body" idx="27"/>
          </p:nvPr>
        </p:nvSpPr>
        <p:spPr>
          <a:xfrm>
            <a:off x="304800" y="405464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142004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Lay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6638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 Layou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618002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s with Sub-Header &amp;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441805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441805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114377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6400800" y="4114377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304800" y="3972389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 flipH="1">
            <a:off x="6400800" y="3972389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11949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BB8BE17-F763-49A8-B550-15B270F4BD38}"/>
              </a:ext>
            </a:extLst>
          </p:cNvPr>
          <p:cNvSpPr/>
          <p:nvPr userDrawn="1"/>
        </p:nvSpPr>
        <p:spPr>
          <a:xfrm>
            <a:off x="476250" y="3875407"/>
            <a:ext cx="11325223" cy="2494625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12F02F-9A4A-4574-820E-47BF0AD3F57F}"/>
              </a:ext>
            </a:extLst>
          </p:cNvPr>
          <p:cNvCxnSpPr>
            <a:cxnSpLocks/>
          </p:cNvCxnSpPr>
          <p:nvPr userDrawn="1"/>
        </p:nvCxnSpPr>
        <p:spPr>
          <a:xfrm flipV="1">
            <a:off x="4248251" y="4200645"/>
            <a:ext cx="4931" cy="1844149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A63ED785-85D2-41B0-A0AF-F97A2B1FDCA9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602861" y="5315338"/>
            <a:ext cx="1523251" cy="501402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ESCRIPTION GOES HERE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5B199D4-A1F1-4C7F-97BE-C6A52EA58E54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5363920" y="5315338"/>
            <a:ext cx="1523251" cy="501402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ESCRIPTION GOES HER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9D4B72F-32E7-4E7B-8CCA-A6349265378D}"/>
              </a:ext>
            </a:extLst>
          </p:cNvPr>
          <p:cNvCxnSpPr>
            <a:cxnSpLocks/>
          </p:cNvCxnSpPr>
          <p:nvPr userDrawn="1"/>
        </p:nvCxnSpPr>
        <p:spPr>
          <a:xfrm flipV="1">
            <a:off x="8002979" y="4200645"/>
            <a:ext cx="4931" cy="1844149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95848DEE-F69A-4987-89E1-530F1B869C80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9143066" y="5315338"/>
            <a:ext cx="1523251" cy="501402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ESCRIPTION GOES HER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B8AE2701-0F95-4102-92C1-284B973FBB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250" y="1600200"/>
            <a:ext cx="11325223" cy="219782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B240FF7B-514D-473E-AEB2-AE9BFCE4C59F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1455650" y="4352785"/>
            <a:ext cx="1817672" cy="932273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buNone/>
              <a:defRPr sz="4800" b="1" spc="2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$XX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B815427-4464-49D0-8118-BCE267F93EE4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5216709" y="4352785"/>
            <a:ext cx="1817672" cy="932273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buNone/>
              <a:defRPr sz="4800" b="1" spc="2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4AD83E52-BBF8-4040-B188-45F8F8F5132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995855" y="4366150"/>
            <a:ext cx="1817672" cy="932273"/>
          </a:xfrm>
        </p:spPr>
        <p:txBody>
          <a:bodyPr>
            <a:noAutofit/>
          </a:bodyPr>
          <a:lstStyle>
            <a:lvl1pPr marL="0" indent="0" algn="ctr">
              <a:lnSpc>
                <a:spcPct val="125000"/>
              </a:lnSpc>
              <a:buNone/>
              <a:defRPr sz="4800" b="1" spc="2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XX+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3C31313-E3F6-4D31-A287-6FAED8104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66E2521-53C9-4680-9A6A-2EC6356E18E1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76248" y="3501467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123023431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Layout with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378035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78035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5179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304800" y="133437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400800" y="133437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060421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060421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5"/>
          </p:nvPr>
        </p:nvSpPr>
        <p:spPr>
          <a:xfrm>
            <a:off x="304800" y="4167217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6"/>
          </p:nvPr>
        </p:nvSpPr>
        <p:spPr>
          <a:xfrm>
            <a:off x="6400800" y="4167217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304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>
            <a:spLocks noGrp="1"/>
          </p:cNvSpPr>
          <p:nvPr>
            <p:ph type="body" idx="27"/>
          </p:nvPr>
        </p:nvSpPr>
        <p:spPr>
          <a:xfrm>
            <a:off x="304800" y="384960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8"/>
          </p:nvPr>
        </p:nvSpPr>
        <p:spPr>
          <a:xfrm>
            <a:off x="6400800" y="384960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873697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s with Sub-Header &amp;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768657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768657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381494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6400800" y="4381494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304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H="1">
            <a:off x="6400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/>
          <p:cNvSpPr>
            <a:spLocks noGrp="1"/>
          </p:cNvSpPr>
          <p:nvPr>
            <p:ph type="body" idx="27"/>
          </p:nvPr>
        </p:nvSpPr>
        <p:spPr>
          <a:xfrm>
            <a:off x="304800" y="405464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8"/>
          </p:nvPr>
        </p:nvSpPr>
        <p:spPr>
          <a:xfrm>
            <a:off x="6400800" y="405464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446436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all-ou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3320026"/>
            <a:ext cx="11582400" cy="3121828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304800" y="3141892"/>
            <a:ext cx="11582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04800" y="990029"/>
            <a:ext cx="11582400" cy="1973731"/>
          </a:xfrm>
        </p:spPr>
        <p:txBody>
          <a:bodyPr>
            <a:normAutofit/>
          </a:bodyPr>
          <a:lstStyle>
            <a:lvl1pPr marL="0" indent="0">
              <a:spcBef>
                <a:spcPts val="2000"/>
              </a:spcBef>
              <a:buNone/>
              <a:defRPr sz="2800" baseline="0">
                <a:solidFill>
                  <a:srgbClr val="7F7F7F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t>Click to edit call-out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922765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all-ou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6483509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116084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443859" y="1005840"/>
            <a:ext cx="4443341" cy="5394960"/>
          </a:xfrm>
        </p:spPr>
        <p:txBody>
          <a:bodyPr>
            <a:normAutofit/>
          </a:bodyPr>
          <a:lstStyle>
            <a:lvl1pPr marL="0" indent="0">
              <a:spcBef>
                <a:spcPts val="2000"/>
              </a:spcBef>
              <a:buNone/>
              <a:defRPr sz="2800" baseline="0">
                <a:solidFill>
                  <a:srgbClr val="7F7F7F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t>Click to edit call-out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018372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432816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242560" y="1400695"/>
            <a:ext cx="6644640" cy="5000105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93776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H="1">
            <a:off x="5242560" y="1320844"/>
            <a:ext cx="664464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21"/>
          </p:nvPr>
        </p:nvSpPr>
        <p:spPr>
          <a:xfrm>
            <a:off x="5242560" y="1005840"/>
            <a:ext cx="664464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2643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 with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664464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7559040" y="1341732"/>
            <a:ext cx="4328160" cy="505906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259767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H="1">
            <a:off x="7570095" y="1279792"/>
            <a:ext cx="432816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21"/>
          </p:nvPr>
        </p:nvSpPr>
        <p:spPr>
          <a:xfrm>
            <a:off x="7570095" y="971985"/>
            <a:ext cx="432816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03195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, Text &amp; Chart with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4937760" y="15179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242560" y="1906915"/>
            <a:ext cx="6644640" cy="4457309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304800" y="1517904"/>
            <a:ext cx="432816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5242560" y="1840382"/>
            <a:ext cx="664464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idx="21"/>
          </p:nvPr>
        </p:nvSpPr>
        <p:spPr>
          <a:xfrm>
            <a:off x="5242560" y="1532575"/>
            <a:ext cx="664464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74027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, Text &amp;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6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400800" y="4202443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6400800" y="3815747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1427531"/>
            <a:ext cx="5486400" cy="502433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096000" y="1005840"/>
            <a:ext cx="0" cy="54864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168793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6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400800" y="4202443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6400800" y="3815747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980615"/>
            <a:ext cx="5486400" cy="5471252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096000" y="996650"/>
            <a:ext cx="0" cy="54864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85487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ext and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4276277"/>
            <a:ext cx="5486400" cy="204825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4276277"/>
            <a:ext cx="5486400" cy="204825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3855653"/>
            <a:ext cx="0" cy="246888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4201800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4201800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3927849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/>
          </p:nvPr>
        </p:nvSpPr>
        <p:spPr>
          <a:xfrm>
            <a:off x="6400800" y="3927849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304800" y="1427532"/>
            <a:ext cx="11582400" cy="2314401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8348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Four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7F4ED3-07B1-442B-BBB2-F9A08479DB3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6250" y="1600200"/>
            <a:ext cx="5311364" cy="1889672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</a:lstStyle>
          <a:p>
            <a:pPr lvl="0"/>
            <a:r>
              <a:rPr lang="en-US" dirty="0"/>
              <a:t>Category 1 Content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C103444-1923-49F8-AA32-48205646C918}"/>
              </a:ext>
            </a:extLst>
          </p:cNvPr>
          <p:cNvSpPr/>
          <p:nvPr userDrawn="1"/>
        </p:nvSpPr>
        <p:spPr>
          <a:xfrm rot="10800000" flipV="1">
            <a:off x="476250" y="3608384"/>
            <a:ext cx="2834640" cy="471989"/>
          </a:xfrm>
          <a:custGeom>
            <a:avLst/>
            <a:gdLst>
              <a:gd name="connsiteX0" fmla="*/ 2633472 w 2633472"/>
              <a:gd name="connsiteY0" fmla="*/ 471989 h 471989"/>
              <a:gd name="connsiteX1" fmla="*/ 0 w 2633472"/>
              <a:gd name="connsiteY1" fmla="*/ 471989 h 471989"/>
              <a:gd name="connsiteX2" fmla="*/ 0 w 2633472"/>
              <a:gd name="connsiteY2" fmla="*/ 151949 h 471989"/>
              <a:gd name="connsiteX3" fmla="*/ 1117475 w 2633472"/>
              <a:gd name="connsiteY3" fmla="*/ 151949 h 471989"/>
              <a:gd name="connsiteX4" fmla="*/ 1316735 w 2633472"/>
              <a:gd name="connsiteY4" fmla="*/ 0 h 471989"/>
              <a:gd name="connsiteX5" fmla="*/ 1515995 w 2633472"/>
              <a:gd name="connsiteY5" fmla="*/ 151949 h 471989"/>
              <a:gd name="connsiteX6" fmla="*/ 2633472 w 2633472"/>
              <a:gd name="connsiteY6" fmla="*/ 151949 h 471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33472" h="471989">
                <a:moveTo>
                  <a:pt x="2633472" y="471989"/>
                </a:moveTo>
                <a:lnTo>
                  <a:pt x="0" y="471989"/>
                </a:lnTo>
                <a:lnTo>
                  <a:pt x="0" y="151949"/>
                </a:lnTo>
                <a:lnTo>
                  <a:pt x="1117475" y="151949"/>
                </a:lnTo>
                <a:lnTo>
                  <a:pt x="1316735" y="0"/>
                </a:lnTo>
                <a:lnTo>
                  <a:pt x="1515995" y="151949"/>
                </a:lnTo>
                <a:lnTo>
                  <a:pt x="2633472" y="15194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8341FAE-BEE4-495C-AAFB-0521E55AC8C6}"/>
              </a:ext>
            </a:extLst>
          </p:cNvPr>
          <p:cNvSpPr/>
          <p:nvPr userDrawn="1"/>
        </p:nvSpPr>
        <p:spPr>
          <a:xfrm flipV="1">
            <a:off x="3304222" y="3760333"/>
            <a:ext cx="2834640" cy="471989"/>
          </a:xfrm>
          <a:custGeom>
            <a:avLst/>
            <a:gdLst>
              <a:gd name="connsiteX0" fmla="*/ 2633472 w 2633472"/>
              <a:gd name="connsiteY0" fmla="*/ 471989 h 471989"/>
              <a:gd name="connsiteX1" fmla="*/ 0 w 2633472"/>
              <a:gd name="connsiteY1" fmla="*/ 471989 h 471989"/>
              <a:gd name="connsiteX2" fmla="*/ 0 w 2633472"/>
              <a:gd name="connsiteY2" fmla="*/ 151949 h 471989"/>
              <a:gd name="connsiteX3" fmla="*/ 1117475 w 2633472"/>
              <a:gd name="connsiteY3" fmla="*/ 151949 h 471989"/>
              <a:gd name="connsiteX4" fmla="*/ 1316735 w 2633472"/>
              <a:gd name="connsiteY4" fmla="*/ 0 h 471989"/>
              <a:gd name="connsiteX5" fmla="*/ 1515995 w 2633472"/>
              <a:gd name="connsiteY5" fmla="*/ 151949 h 471989"/>
              <a:gd name="connsiteX6" fmla="*/ 2633472 w 2633472"/>
              <a:gd name="connsiteY6" fmla="*/ 151949 h 471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33472" h="471989">
                <a:moveTo>
                  <a:pt x="2633472" y="471989"/>
                </a:moveTo>
                <a:lnTo>
                  <a:pt x="0" y="471989"/>
                </a:lnTo>
                <a:lnTo>
                  <a:pt x="0" y="151949"/>
                </a:lnTo>
                <a:lnTo>
                  <a:pt x="1117475" y="151949"/>
                </a:lnTo>
                <a:lnTo>
                  <a:pt x="1316735" y="0"/>
                </a:lnTo>
                <a:lnTo>
                  <a:pt x="1515995" y="151949"/>
                </a:lnTo>
                <a:lnTo>
                  <a:pt x="2633472" y="15194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ED68B44-D42B-4203-A59E-C2CB213B6D99}"/>
              </a:ext>
            </a:extLst>
          </p:cNvPr>
          <p:cNvSpPr/>
          <p:nvPr userDrawn="1"/>
        </p:nvSpPr>
        <p:spPr>
          <a:xfrm>
            <a:off x="6092952" y="3608384"/>
            <a:ext cx="2834640" cy="471989"/>
          </a:xfrm>
          <a:custGeom>
            <a:avLst/>
            <a:gdLst>
              <a:gd name="connsiteX0" fmla="*/ 2633472 w 2633472"/>
              <a:gd name="connsiteY0" fmla="*/ 471989 h 471989"/>
              <a:gd name="connsiteX1" fmla="*/ 0 w 2633472"/>
              <a:gd name="connsiteY1" fmla="*/ 471989 h 471989"/>
              <a:gd name="connsiteX2" fmla="*/ 0 w 2633472"/>
              <a:gd name="connsiteY2" fmla="*/ 151949 h 471989"/>
              <a:gd name="connsiteX3" fmla="*/ 1117475 w 2633472"/>
              <a:gd name="connsiteY3" fmla="*/ 151949 h 471989"/>
              <a:gd name="connsiteX4" fmla="*/ 1316735 w 2633472"/>
              <a:gd name="connsiteY4" fmla="*/ 0 h 471989"/>
              <a:gd name="connsiteX5" fmla="*/ 1515995 w 2633472"/>
              <a:gd name="connsiteY5" fmla="*/ 151949 h 471989"/>
              <a:gd name="connsiteX6" fmla="*/ 2633472 w 2633472"/>
              <a:gd name="connsiteY6" fmla="*/ 151949 h 471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33472" h="471989">
                <a:moveTo>
                  <a:pt x="2633472" y="471989"/>
                </a:moveTo>
                <a:lnTo>
                  <a:pt x="0" y="471989"/>
                </a:lnTo>
                <a:lnTo>
                  <a:pt x="0" y="151949"/>
                </a:lnTo>
                <a:lnTo>
                  <a:pt x="1117475" y="151949"/>
                </a:lnTo>
                <a:lnTo>
                  <a:pt x="1316735" y="0"/>
                </a:lnTo>
                <a:lnTo>
                  <a:pt x="1515995" y="151949"/>
                </a:lnTo>
                <a:lnTo>
                  <a:pt x="2633472" y="1519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8862C0B-E3D9-4865-821E-88185D89DB0E}"/>
              </a:ext>
            </a:extLst>
          </p:cNvPr>
          <p:cNvSpPr/>
          <p:nvPr userDrawn="1"/>
        </p:nvSpPr>
        <p:spPr>
          <a:xfrm rot="10800000">
            <a:off x="8927592" y="3760333"/>
            <a:ext cx="2834640" cy="471989"/>
          </a:xfrm>
          <a:custGeom>
            <a:avLst/>
            <a:gdLst>
              <a:gd name="connsiteX0" fmla="*/ 2633472 w 2633472"/>
              <a:gd name="connsiteY0" fmla="*/ 471989 h 471989"/>
              <a:gd name="connsiteX1" fmla="*/ 0 w 2633472"/>
              <a:gd name="connsiteY1" fmla="*/ 471989 h 471989"/>
              <a:gd name="connsiteX2" fmla="*/ 0 w 2633472"/>
              <a:gd name="connsiteY2" fmla="*/ 151949 h 471989"/>
              <a:gd name="connsiteX3" fmla="*/ 1117475 w 2633472"/>
              <a:gd name="connsiteY3" fmla="*/ 151949 h 471989"/>
              <a:gd name="connsiteX4" fmla="*/ 1316735 w 2633472"/>
              <a:gd name="connsiteY4" fmla="*/ 0 h 471989"/>
              <a:gd name="connsiteX5" fmla="*/ 1515995 w 2633472"/>
              <a:gd name="connsiteY5" fmla="*/ 151949 h 471989"/>
              <a:gd name="connsiteX6" fmla="*/ 2633472 w 2633472"/>
              <a:gd name="connsiteY6" fmla="*/ 151949 h 471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33472" h="471989">
                <a:moveTo>
                  <a:pt x="2633472" y="471989"/>
                </a:moveTo>
                <a:lnTo>
                  <a:pt x="0" y="471989"/>
                </a:lnTo>
                <a:lnTo>
                  <a:pt x="0" y="151949"/>
                </a:lnTo>
                <a:lnTo>
                  <a:pt x="1117475" y="151949"/>
                </a:lnTo>
                <a:lnTo>
                  <a:pt x="1316735" y="0"/>
                </a:lnTo>
                <a:lnTo>
                  <a:pt x="1515995" y="151949"/>
                </a:lnTo>
                <a:lnTo>
                  <a:pt x="2633472" y="15194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12F02F-9A4A-4574-820E-47BF0AD3F57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014" y="1359137"/>
            <a:ext cx="0" cy="1892808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AAEF840-CC51-4909-9C04-0DB42296E837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014" y="4341379"/>
            <a:ext cx="0" cy="1892808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9DA70D42-4079-40FC-B2D1-F21421C739DE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76250" y="4341379"/>
            <a:ext cx="5311364" cy="1892808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</a:lstStyle>
          <a:p>
            <a:pPr lvl="0"/>
            <a:r>
              <a:rPr lang="en-US" dirty="0"/>
              <a:t>Category 2 Conten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4EE1F9AE-A139-4E48-AE50-01DD733415D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476250" y="3798322"/>
            <a:ext cx="2834640" cy="271127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8BE94B91-BABE-4DC7-A367-93305A3E506E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310890" y="3798322"/>
            <a:ext cx="2782062" cy="271126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DAC3256B-BF2B-4513-AE1D-AB191D6544B7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099620" y="3798322"/>
            <a:ext cx="2827972" cy="271126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350B04E8-1EE4-4BE4-9547-E0D6AE7FD13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927592" y="3798322"/>
            <a:ext cx="2834640" cy="271127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ATEGORY 4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1CC2100-7046-4DF0-8841-FA08F2C32AAB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418640" y="1600201"/>
            <a:ext cx="5382827" cy="1889671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</a:lstStyle>
          <a:p>
            <a:pPr lvl="0"/>
            <a:r>
              <a:rPr lang="en-US" dirty="0"/>
              <a:t>Category 3 Content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A4F1E077-D178-447C-BC0C-7189DF7309B2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418641" y="4341379"/>
            <a:ext cx="5382826" cy="1892808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</a:lstStyle>
          <a:p>
            <a:pPr lvl="0"/>
            <a:r>
              <a:rPr lang="en-US" dirty="0"/>
              <a:t>Category 4 Content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CA81FE70-4082-405B-80B4-C8320217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87480DE3-60D1-4521-BEA9-92FF066214B4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211033640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27535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object 11"/>
          <p:cNvSpPr txBox="1"/>
          <p:nvPr/>
        </p:nvSpPr>
        <p:spPr>
          <a:xfrm>
            <a:off x="763934" y="3989526"/>
            <a:ext cx="10664135" cy="37997"/>
          </a:xfrm>
          <a:prstGeom prst="rect">
            <a:avLst/>
          </a:prstGeom>
          <a:solidFill>
            <a:srgbClr val="78A9DE"/>
          </a:solidFill>
          <a:ln w="19050">
            <a:solidFill>
              <a:srgbClr val="78A9DE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225425" algn="ctr">
              <a:lnSpc>
                <a:spcPct val="100000"/>
              </a:lnSpc>
            </a:pPr>
            <a:endParaRPr sz="1200" dirty="0">
              <a:latin typeface="+mj-lt"/>
              <a:cs typeface="Arial Unicode MS"/>
            </a:endParaRPr>
          </a:p>
        </p:txBody>
      </p:sp>
      <p:sp>
        <p:nvSpPr>
          <p:cNvPr id="10" name="Title 1"/>
          <p:cNvSpPr>
            <a:spLocks noGrp="1"/>
          </p:cNvSpPr>
          <p:nvPr userDrawn="1">
            <p:ph type="title"/>
          </p:nvPr>
        </p:nvSpPr>
        <p:spPr>
          <a:xfrm>
            <a:off x="762000" y="2593101"/>
            <a:ext cx="10668000" cy="1362075"/>
          </a:xfrm>
          <a:solidFill>
            <a:schemeClr val="tx2"/>
          </a:solidFill>
        </p:spPr>
        <p:txBody>
          <a:bodyPr lIns="182880" tIns="182880" rIns="182880" bIns="182880" anchor="ctr"/>
          <a:lstStyle>
            <a:lvl1pPr algn="ctr">
              <a:defRPr sz="4000" b="0" cap="all">
                <a:solidFill>
                  <a:schemeClr val="bg1"/>
                </a:solidFill>
              </a:defRPr>
            </a:lvl1pPr>
          </a:lstStyle>
          <a:p>
            <a:r>
              <a:rPr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971953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EB0AD-5F4D-40ED-849C-E9BB181406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3203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7F4ED3-07B1-442B-BBB2-F9A08479DB3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931736" y="1600200"/>
            <a:ext cx="8869738" cy="123444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</a:lstStyle>
          <a:p>
            <a:pPr lvl="0"/>
            <a:r>
              <a:rPr lang="en-US" dirty="0"/>
              <a:t>Category 1 Conten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12F02F-9A4A-4574-820E-47BF0AD3F57F}"/>
              </a:ext>
            </a:extLst>
          </p:cNvPr>
          <p:cNvCxnSpPr>
            <a:cxnSpLocks/>
          </p:cNvCxnSpPr>
          <p:nvPr userDrawn="1"/>
        </p:nvCxnSpPr>
        <p:spPr>
          <a:xfrm>
            <a:off x="476250" y="3028048"/>
            <a:ext cx="11329416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350B04E8-1EE4-4BE4-9547-E0D6AE7FD13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476250" y="1600200"/>
            <a:ext cx="1771835" cy="248821"/>
          </a:xfrm>
        </p:spPr>
        <p:txBody>
          <a:bodyPr>
            <a:noAutofit/>
          </a:bodyPr>
          <a:lstStyle>
            <a:lvl1pPr marL="0" indent="0" algn="l"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998EF6E7-40B5-4D32-BA1D-C022BD639730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2931736" y="3317681"/>
            <a:ext cx="8865546" cy="123444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</a:lstStyle>
          <a:p>
            <a:pPr lvl="0"/>
            <a:r>
              <a:rPr lang="en-US" dirty="0"/>
              <a:t>Category 1 Conten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801BAF58-560C-4904-A207-DE7F81C0434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472058" y="3314271"/>
            <a:ext cx="1771835" cy="248821"/>
          </a:xfrm>
        </p:spPr>
        <p:txBody>
          <a:bodyPr>
            <a:noAutofit/>
          </a:bodyPr>
          <a:lstStyle>
            <a:lvl1pPr marL="0" indent="0" algn="l"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FC53E9F-B35E-48DF-82B7-82F86BB796BE}"/>
              </a:ext>
            </a:extLst>
          </p:cNvPr>
          <p:cNvCxnSpPr>
            <a:cxnSpLocks/>
          </p:cNvCxnSpPr>
          <p:nvPr userDrawn="1"/>
        </p:nvCxnSpPr>
        <p:spPr>
          <a:xfrm>
            <a:off x="476250" y="4742500"/>
            <a:ext cx="11329416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2CC7CC6-0A1E-43E0-8EA0-FECEE56CF19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2931736" y="5035161"/>
            <a:ext cx="8865546" cy="123444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</a:lstStyle>
          <a:p>
            <a:pPr lvl="0"/>
            <a:r>
              <a:rPr lang="en-US" dirty="0"/>
              <a:t>Category 1 Content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3911B0E-1253-44A8-AB69-BBFED35FB26A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72058" y="5035161"/>
            <a:ext cx="1771835" cy="248821"/>
          </a:xfrm>
        </p:spPr>
        <p:txBody>
          <a:bodyPr>
            <a:noAutofit/>
          </a:bodyPr>
          <a:lstStyle>
            <a:lvl1pPr marL="0" indent="0" algn="l">
              <a:buNone/>
              <a:defRPr sz="12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8FF99953-F33B-42BA-A08A-6FFBF0F35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272486C-48B7-43F4-AC8D-CD7679644A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2434624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hree Categorie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A86BCBA4-4D63-43A5-B400-8310501A8EAA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458260" y="2155896"/>
            <a:ext cx="914400" cy="914400"/>
          </a:xfrm>
        </p:spPr>
        <p:txBody>
          <a:bodyPr>
            <a:noAutofit/>
          </a:bodyPr>
          <a:lstStyle>
            <a:lvl1pPr marL="0" indent="0" algn="l">
              <a:buNone/>
              <a:defRPr sz="12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 Icon</a:t>
            </a:r>
          </a:p>
        </p:txBody>
      </p:sp>
      <p:sp>
        <p:nvSpPr>
          <p:cNvPr id="40" name="Content Placeholder 3">
            <a:extLst>
              <a:ext uri="{FF2B5EF4-FFF2-40B4-BE49-F238E27FC236}">
                <a16:creationId xmlns:a16="http://schemas.microsoft.com/office/drawing/2014/main" id="{FB99DECC-78AE-472A-9ACD-BC1DC3E42E27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4637842" y="2155896"/>
            <a:ext cx="914400" cy="914400"/>
          </a:xfrm>
        </p:spPr>
        <p:txBody>
          <a:bodyPr>
            <a:noAutofit/>
          </a:bodyPr>
          <a:lstStyle>
            <a:lvl1pPr marL="0" indent="0" algn="l">
              <a:buNone/>
              <a:defRPr sz="12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 Icon</a:t>
            </a: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BB5E48FF-9B6C-4061-871D-6D7ED89031E3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954510" y="2155896"/>
            <a:ext cx="914400" cy="914400"/>
          </a:xfrm>
        </p:spPr>
        <p:txBody>
          <a:bodyPr>
            <a:noAutofit/>
          </a:bodyPr>
          <a:lstStyle>
            <a:lvl1pPr marL="0" indent="0" algn="l">
              <a:buNone/>
              <a:defRPr sz="12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 Ico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EAB367C-E5C6-44EE-863B-9EEE186B2F4E}"/>
              </a:ext>
            </a:extLst>
          </p:cNvPr>
          <p:cNvCxnSpPr>
            <a:cxnSpLocks/>
          </p:cNvCxnSpPr>
          <p:nvPr userDrawn="1"/>
        </p:nvCxnSpPr>
        <p:spPr>
          <a:xfrm flipV="1">
            <a:off x="4266561" y="2159153"/>
            <a:ext cx="0" cy="356834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B925A5AD-2D7F-4707-948F-CFC6E92D44F9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1128320" y="2922656"/>
            <a:ext cx="2508313" cy="737248"/>
          </a:xfrm>
        </p:spPr>
        <p:txBody>
          <a:bodyPr>
            <a:noAutofit/>
          </a:bodyPr>
          <a:lstStyle>
            <a:lvl1pPr marL="0" indent="0" algn="l">
              <a:buNone/>
              <a:defRPr sz="1200" b="1" spc="2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AMET, CONSECTETUR ADIPISCING ELIT.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97C85A92-49B1-49A3-AC08-4F67AC64E28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1128320" y="3693795"/>
            <a:ext cx="2508313" cy="2033697"/>
          </a:xfrm>
        </p:spPr>
        <p:txBody>
          <a:bodyPr>
            <a:noAutofit/>
          </a:bodyPr>
          <a:lstStyle>
            <a:lvl1pPr marL="0" indent="0" algn="l">
              <a:buNone/>
              <a:defRPr sz="1300" b="0" spc="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Vivamu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mi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Morbi lacinia pulvinar </a:t>
            </a:r>
            <a:r>
              <a:rPr lang="en-US" dirty="0" err="1"/>
              <a:t>scelerisque</a:t>
            </a:r>
            <a:r>
              <a:rPr lang="en-US" dirty="0"/>
              <a:t>. Morbi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turpis</a:t>
            </a:r>
            <a:r>
              <a:rPr lang="en-US" dirty="0"/>
              <a:t>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.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CDAF712-E803-4388-B608-13B4560D162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4896495" y="2922656"/>
            <a:ext cx="2508313" cy="737248"/>
          </a:xfrm>
        </p:spPr>
        <p:txBody>
          <a:bodyPr>
            <a:noAutofit/>
          </a:bodyPr>
          <a:lstStyle>
            <a:lvl1pPr marL="0" indent="0" algn="l">
              <a:buNone/>
              <a:defRPr sz="1200" b="1" spc="2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AMET, CONSECTETUR ADIPISCING ELIT.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2014E0DB-C710-4B24-87F3-FD6B03E967C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896495" y="3693796"/>
            <a:ext cx="2508313" cy="2033696"/>
          </a:xfrm>
        </p:spPr>
        <p:txBody>
          <a:bodyPr>
            <a:noAutofit/>
          </a:bodyPr>
          <a:lstStyle>
            <a:lvl1pPr marL="0" indent="0" algn="l">
              <a:buNone/>
              <a:defRPr sz="1300" b="0" spc="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Vivamu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mi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Morbi lacinia pulvinar </a:t>
            </a:r>
            <a:r>
              <a:rPr lang="en-US" dirty="0" err="1"/>
              <a:t>scelerisque</a:t>
            </a:r>
            <a:r>
              <a:rPr lang="en-US" dirty="0"/>
              <a:t>. Morbi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turpis</a:t>
            </a:r>
            <a:r>
              <a:rPr lang="en-US" dirty="0"/>
              <a:t>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.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71010E7-CC24-479E-9826-83AC67E85D0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4731" y="2159153"/>
            <a:ext cx="0" cy="356834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55A09C0F-C55B-4E51-AF97-2256826C867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668611" y="2922656"/>
            <a:ext cx="2508313" cy="737248"/>
          </a:xfrm>
        </p:spPr>
        <p:txBody>
          <a:bodyPr>
            <a:noAutofit/>
          </a:bodyPr>
          <a:lstStyle>
            <a:lvl1pPr marL="0" indent="0" algn="l">
              <a:buNone/>
              <a:defRPr sz="1200" b="1" spc="2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AMET, CONSECTETUR ADIPISCING ELIT.</a:t>
            </a: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2FF728A6-0381-4826-9729-1E028067F064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8668611" y="3693796"/>
            <a:ext cx="2508313" cy="2033696"/>
          </a:xfrm>
        </p:spPr>
        <p:txBody>
          <a:bodyPr>
            <a:noAutofit/>
          </a:bodyPr>
          <a:lstStyle>
            <a:lvl1pPr marL="0" indent="0" algn="l">
              <a:buNone/>
              <a:defRPr sz="1300" b="0" spc="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Vivamu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mi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Morbi lacinia pulvinar </a:t>
            </a:r>
            <a:r>
              <a:rPr lang="en-US" dirty="0" err="1"/>
              <a:t>scelerisque</a:t>
            </a:r>
            <a:r>
              <a:rPr lang="en-US" dirty="0"/>
              <a:t>. Morbi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turpis</a:t>
            </a:r>
            <a:r>
              <a:rPr lang="en-US" dirty="0"/>
              <a:t>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.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35E0B6C6-6783-45A9-8F13-00A2E04F6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3DD4CC4-3ABA-4B6E-A741-F35A86C1694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3568051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CB2ACF7-515F-4DFB-8D4D-C6F2EE5920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7093" y="4716"/>
            <a:ext cx="12242800" cy="688657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DB0422C-1BEB-46D2-9FE2-01AAD0D8B61C}"/>
              </a:ext>
            </a:extLst>
          </p:cNvPr>
          <p:cNvSpPr>
            <a:spLocks/>
          </p:cNvSpPr>
          <p:nvPr userDrawn="1"/>
        </p:nvSpPr>
        <p:spPr>
          <a:xfrm>
            <a:off x="-1644316" y="494714"/>
            <a:ext cx="1508760" cy="320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171, G-132, B-5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A0D81E-B350-43E6-A395-F0B301BCBE92}"/>
              </a:ext>
            </a:extLst>
          </p:cNvPr>
          <p:cNvSpPr>
            <a:spLocks/>
          </p:cNvSpPr>
          <p:nvPr userDrawn="1"/>
        </p:nvSpPr>
        <p:spPr>
          <a:xfrm>
            <a:off x="-1644316" y="1484142"/>
            <a:ext cx="1508760" cy="32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8, G-132, B-15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6D8FBB-8F49-4CE9-936C-03FC60BCAD4D}"/>
              </a:ext>
            </a:extLst>
          </p:cNvPr>
          <p:cNvSpPr>
            <a:spLocks/>
          </p:cNvSpPr>
          <p:nvPr userDrawn="1"/>
        </p:nvSpPr>
        <p:spPr>
          <a:xfrm>
            <a:off x="-1644316" y="2018819"/>
            <a:ext cx="1508760" cy="320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97, G-161, B-22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51BBC20-70B9-4C60-81DA-B2DDD9C46CA7}"/>
              </a:ext>
            </a:extLst>
          </p:cNvPr>
          <p:cNvSpPr>
            <a:spLocks/>
          </p:cNvSpPr>
          <p:nvPr userDrawn="1"/>
        </p:nvSpPr>
        <p:spPr>
          <a:xfrm>
            <a:off x="-1644316" y="-3233"/>
            <a:ext cx="1508760" cy="320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, G-54, B-7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3ACAC6-3143-4240-B61F-FD761A75243B}"/>
              </a:ext>
            </a:extLst>
          </p:cNvPr>
          <p:cNvSpPr>
            <a:spLocks/>
          </p:cNvSpPr>
          <p:nvPr userDrawn="1"/>
        </p:nvSpPr>
        <p:spPr>
          <a:xfrm>
            <a:off x="-1644316" y="989428"/>
            <a:ext cx="1508760" cy="320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29, G-101, B-11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77E953-E149-4C7C-80DE-4BA8F56F908C}"/>
              </a:ext>
            </a:extLst>
          </p:cNvPr>
          <p:cNvSpPr>
            <a:spLocks/>
          </p:cNvSpPr>
          <p:nvPr userDrawn="1"/>
        </p:nvSpPr>
        <p:spPr>
          <a:xfrm>
            <a:off x="-1644316" y="2524332"/>
            <a:ext cx="1508760" cy="3200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82, G-231, B-25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195FDD0-CEDD-4D3A-A133-4D75DC3CC310}"/>
              </a:ext>
            </a:extLst>
          </p:cNvPr>
          <p:cNvSpPr>
            <a:spLocks/>
          </p:cNvSpPr>
          <p:nvPr userDrawn="1"/>
        </p:nvSpPr>
        <p:spPr>
          <a:xfrm>
            <a:off x="-1644317" y="4040871"/>
            <a:ext cx="1508760" cy="32004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15, G-185, B-12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A5D7159-A0FA-44FE-A290-CEB1D8272B31}"/>
              </a:ext>
            </a:extLst>
          </p:cNvPr>
          <p:cNvSpPr>
            <a:spLocks/>
          </p:cNvSpPr>
          <p:nvPr userDrawn="1"/>
        </p:nvSpPr>
        <p:spPr>
          <a:xfrm>
            <a:off x="-1644316" y="6062923"/>
            <a:ext cx="1508760" cy="32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96, G-206, B-215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C5A467-BF82-41AD-9257-FB50EDF195CC}"/>
              </a:ext>
            </a:extLst>
          </p:cNvPr>
          <p:cNvSpPr>
            <a:spLocks/>
          </p:cNvSpPr>
          <p:nvPr userDrawn="1"/>
        </p:nvSpPr>
        <p:spPr>
          <a:xfrm>
            <a:off x="-1644316" y="6568439"/>
            <a:ext cx="1508760" cy="320040"/>
          </a:xfrm>
          <a:prstGeom prst="rect">
            <a:avLst/>
          </a:prstGeom>
          <a:solidFill>
            <a:srgbClr val="A3CC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71, G-202, B-24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DD779BA-99D6-4436-899F-538328D52AAD}"/>
              </a:ext>
            </a:extLst>
          </p:cNvPr>
          <p:cNvSpPr>
            <a:spLocks/>
          </p:cNvSpPr>
          <p:nvPr userDrawn="1"/>
        </p:nvSpPr>
        <p:spPr>
          <a:xfrm>
            <a:off x="-1639066" y="3535358"/>
            <a:ext cx="1508760" cy="320040"/>
          </a:xfrm>
          <a:prstGeom prst="rect">
            <a:avLst/>
          </a:prstGeom>
          <a:solidFill>
            <a:srgbClr val="0D6B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3, G-107, B-147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E246C8-CCFF-4742-A2BF-91348604F89F}"/>
              </a:ext>
            </a:extLst>
          </p:cNvPr>
          <p:cNvSpPr>
            <a:spLocks/>
          </p:cNvSpPr>
          <p:nvPr userDrawn="1"/>
        </p:nvSpPr>
        <p:spPr>
          <a:xfrm>
            <a:off x="-1644316" y="5051897"/>
            <a:ext cx="1508760" cy="320040"/>
          </a:xfrm>
          <a:prstGeom prst="rect">
            <a:avLst/>
          </a:prstGeom>
          <a:solidFill>
            <a:srgbClr val="2198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tx1"/>
                </a:solidFill>
              </a:rPr>
              <a:t>R-33, G-152, B-17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FA1F11D-737A-40E6-A81E-3776E1CD5C9D}"/>
              </a:ext>
            </a:extLst>
          </p:cNvPr>
          <p:cNvSpPr>
            <a:spLocks/>
          </p:cNvSpPr>
          <p:nvPr userDrawn="1"/>
        </p:nvSpPr>
        <p:spPr>
          <a:xfrm>
            <a:off x="-1644316" y="3029845"/>
            <a:ext cx="1508760" cy="320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08, G-232, B-248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D115FB5-FCC7-4622-87FA-80C9C1F316F5}"/>
              </a:ext>
            </a:extLst>
          </p:cNvPr>
          <p:cNvSpPr>
            <a:spLocks/>
          </p:cNvSpPr>
          <p:nvPr userDrawn="1"/>
        </p:nvSpPr>
        <p:spPr>
          <a:xfrm>
            <a:off x="12269558" y="0"/>
            <a:ext cx="1508760" cy="32004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0, G-0, B-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7A6DA6F-02BE-46C7-A201-5A3463DA2C45}"/>
              </a:ext>
            </a:extLst>
          </p:cNvPr>
          <p:cNvSpPr>
            <a:spLocks/>
          </p:cNvSpPr>
          <p:nvPr userDrawn="1"/>
        </p:nvSpPr>
        <p:spPr>
          <a:xfrm>
            <a:off x="12269558" y="494714"/>
            <a:ext cx="1508760" cy="320040"/>
          </a:xfrm>
          <a:prstGeom prst="rect">
            <a:avLst/>
          </a:prstGeom>
          <a:solidFill>
            <a:srgbClr val="5F5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95, G-95, B-95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3C1BE37-33EA-441B-9A07-584D23C28473}"/>
              </a:ext>
            </a:extLst>
          </p:cNvPr>
          <p:cNvSpPr>
            <a:spLocks/>
          </p:cNvSpPr>
          <p:nvPr userDrawn="1"/>
        </p:nvSpPr>
        <p:spPr>
          <a:xfrm>
            <a:off x="12269558" y="989428"/>
            <a:ext cx="1508760" cy="320040"/>
          </a:xfrm>
          <a:prstGeom prst="rect">
            <a:avLst/>
          </a:prstGeom>
          <a:solidFill>
            <a:srgbClr val="BCBC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tx1"/>
                </a:solidFill>
              </a:rPr>
              <a:t>R-188, G-188, B-188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299D146-C78D-4BCD-91D9-3D20F0B9F5BC}"/>
              </a:ext>
            </a:extLst>
          </p:cNvPr>
          <p:cNvSpPr>
            <a:spLocks/>
          </p:cNvSpPr>
          <p:nvPr userDrawn="1"/>
        </p:nvSpPr>
        <p:spPr>
          <a:xfrm>
            <a:off x="12269558" y="1484142"/>
            <a:ext cx="1508760" cy="32004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ysClr val="windowText" lastClr="000000"/>
                </a:solidFill>
              </a:rPr>
              <a:t>R-235, G-235, B-235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F5098E4-5E3D-47B7-AAEF-A12FE7B84E4A}"/>
              </a:ext>
            </a:extLst>
          </p:cNvPr>
          <p:cNvSpPr>
            <a:spLocks/>
          </p:cNvSpPr>
          <p:nvPr userDrawn="1"/>
        </p:nvSpPr>
        <p:spPr>
          <a:xfrm>
            <a:off x="-1644316" y="4546384"/>
            <a:ext cx="1508760" cy="32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42, G-232, B-211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EB8486A-1A42-41DF-BCB6-2EBA83C0201A}"/>
              </a:ext>
            </a:extLst>
          </p:cNvPr>
          <p:cNvSpPr>
            <a:spLocks/>
          </p:cNvSpPr>
          <p:nvPr userDrawn="1"/>
        </p:nvSpPr>
        <p:spPr>
          <a:xfrm>
            <a:off x="-1644316" y="5557410"/>
            <a:ext cx="1508760" cy="3200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ysClr val="windowText" lastClr="000000"/>
                </a:solidFill>
              </a:rPr>
              <a:t>R-196, G-234, B-240</a:t>
            </a:r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4E1A0F73-1512-4986-B8EC-A516835C77D4}"/>
              </a:ext>
            </a:extLst>
          </p:cNvPr>
          <p:cNvSpPr txBox="1">
            <a:spLocks/>
          </p:cNvSpPr>
          <p:nvPr userDrawn="1"/>
        </p:nvSpPr>
        <p:spPr>
          <a:xfrm>
            <a:off x="9841371" y="6555165"/>
            <a:ext cx="2374336" cy="1834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00" dirty="0"/>
              <a:t>TRADE SECRET &amp; STRICTLY CONFIDENTIAL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E767FD8E-0A1A-4DDE-9F78-0C57F23F25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371" y="3000322"/>
            <a:ext cx="9144000" cy="85735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B044BF82-2860-44B1-90C0-87F44B30D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8637" y="2672980"/>
            <a:ext cx="2050971" cy="327342"/>
          </a:xfrm>
        </p:spPr>
        <p:txBody>
          <a:bodyPr>
            <a:normAutofit/>
          </a:bodyPr>
          <a:lstStyle>
            <a:lvl1pPr marL="0" indent="0" algn="l">
              <a:buNone/>
              <a:defRPr sz="1200" b="1" spc="200" baseline="0">
                <a:solidFill>
                  <a:schemeClr val="accent1"/>
                </a:solidFill>
                <a:latin typeface="Value Sans Pro" panose="020B05030501010401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TION 01</a:t>
            </a:r>
          </a:p>
        </p:txBody>
      </p:sp>
    </p:spTree>
    <p:extLst>
      <p:ext uri="{BB962C8B-B14F-4D97-AF65-F5344CB8AC3E}">
        <p14:creationId xmlns:p14="http://schemas.microsoft.com/office/powerpoint/2010/main" val="1598154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hree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773EF450-AD3A-4CDD-98DA-959F1FD3267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151970" y="2227823"/>
            <a:ext cx="3520440" cy="4057164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pPr lvl="0"/>
            <a:r>
              <a:rPr lang="en-US" dirty="0"/>
              <a:t>Category 3 Conten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7F4ED3-07B1-442B-BBB2-F9A08479DB3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97978" y="2230593"/>
            <a:ext cx="3520440" cy="4054394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pPr lvl="0"/>
            <a:r>
              <a:rPr lang="en-US" dirty="0"/>
              <a:t>Category 1 Content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C103444-1923-49F8-AA32-48205646C918}"/>
              </a:ext>
            </a:extLst>
          </p:cNvPr>
          <p:cNvSpPr/>
          <p:nvPr userDrawn="1"/>
        </p:nvSpPr>
        <p:spPr>
          <a:xfrm flipV="1">
            <a:off x="476250" y="1552668"/>
            <a:ext cx="3776472" cy="471989"/>
          </a:xfrm>
          <a:custGeom>
            <a:avLst/>
            <a:gdLst>
              <a:gd name="connsiteX0" fmla="*/ 2633472 w 2633472"/>
              <a:gd name="connsiteY0" fmla="*/ 471989 h 471989"/>
              <a:gd name="connsiteX1" fmla="*/ 0 w 2633472"/>
              <a:gd name="connsiteY1" fmla="*/ 471989 h 471989"/>
              <a:gd name="connsiteX2" fmla="*/ 0 w 2633472"/>
              <a:gd name="connsiteY2" fmla="*/ 151949 h 471989"/>
              <a:gd name="connsiteX3" fmla="*/ 1117475 w 2633472"/>
              <a:gd name="connsiteY3" fmla="*/ 151949 h 471989"/>
              <a:gd name="connsiteX4" fmla="*/ 1316735 w 2633472"/>
              <a:gd name="connsiteY4" fmla="*/ 0 h 471989"/>
              <a:gd name="connsiteX5" fmla="*/ 1515995 w 2633472"/>
              <a:gd name="connsiteY5" fmla="*/ 151949 h 471989"/>
              <a:gd name="connsiteX6" fmla="*/ 2633472 w 2633472"/>
              <a:gd name="connsiteY6" fmla="*/ 151949 h 471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33472" h="471989">
                <a:moveTo>
                  <a:pt x="2633472" y="471989"/>
                </a:moveTo>
                <a:lnTo>
                  <a:pt x="0" y="471989"/>
                </a:lnTo>
                <a:lnTo>
                  <a:pt x="0" y="151949"/>
                </a:lnTo>
                <a:lnTo>
                  <a:pt x="1117475" y="151949"/>
                </a:lnTo>
                <a:lnTo>
                  <a:pt x="1316735" y="0"/>
                </a:lnTo>
                <a:lnTo>
                  <a:pt x="1515995" y="151949"/>
                </a:lnTo>
                <a:lnTo>
                  <a:pt x="2633472" y="15194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ED68B44-D42B-4203-A59E-C2CB213B6D99}"/>
              </a:ext>
            </a:extLst>
          </p:cNvPr>
          <p:cNvSpPr/>
          <p:nvPr userDrawn="1"/>
        </p:nvSpPr>
        <p:spPr>
          <a:xfrm rot="10800000">
            <a:off x="4250626" y="1552669"/>
            <a:ext cx="3776472" cy="471989"/>
          </a:xfrm>
          <a:custGeom>
            <a:avLst/>
            <a:gdLst>
              <a:gd name="connsiteX0" fmla="*/ 2633472 w 2633472"/>
              <a:gd name="connsiteY0" fmla="*/ 471989 h 471989"/>
              <a:gd name="connsiteX1" fmla="*/ 0 w 2633472"/>
              <a:gd name="connsiteY1" fmla="*/ 471989 h 471989"/>
              <a:gd name="connsiteX2" fmla="*/ 0 w 2633472"/>
              <a:gd name="connsiteY2" fmla="*/ 151949 h 471989"/>
              <a:gd name="connsiteX3" fmla="*/ 1117475 w 2633472"/>
              <a:gd name="connsiteY3" fmla="*/ 151949 h 471989"/>
              <a:gd name="connsiteX4" fmla="*/ 1316735 w 2633472"/>
              <a:gd name="connsiteY4" fmla="*/ 0 h 471989"/>
              <a:gd name="connsiteX5" fmla="*/ 1515995 w 2633472"/>
              <a:gd name="connsiteY5" fmla="*/ 151949 h 471989"/>
              <a:gd name="connsiteX6" fmla="*/ 2633472 w 2633472"/>
              <a:gd name="connsiteY6" fmla="*/ 151949 h 471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33472" h="471989">
                <a:moveTo>
                  <a:pt x="2633472" y="471989"/>
                </a:moveTo>
                <a:lnTo>
                  <a:pt x="0" y="471989"/>
                </a:lnTo>
                <a:lnTo>
                  <a:pt x="0" y="151949"/>
                </a:lnTo>
                <a:lnTo>
                  <a:pt x="1117475" y="151949"/>
                </a:lnTo>
                <a:lnTo>
                  <a:pt x="1316735" y="0"/>
                </a:lnTo>
                <a:lnTo>
                  <a:pt x="1515995" y="151949"/>
                </a:lnTo>
                <a:lnTo>
                  <a:pt x="2633472" y="15194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8862C0B-E3D9-4865-821E-88185D89DB0E}"/>
              </a:ext>
            </a:extLst>
          </p:cNvPr>
          <p:cNvSpPr/>
          <p:nvPr userDrawn="1"/>
        </p:nvSpPr>
        <p:spPr>
          <a:xfrm rot="10800000">
            <a:off x="8025002" y="1552669"/>
            <a:ext cx="3776472" cy="471989"/>
          </a:xfrm>
          <a:custGeom>
            <a:avLst/>
            <a:gdLst>
              <a:gd name="connsiteX0" fmla="*/ 2633472 w 2633472"/>
              <a:gd name="connsiteY0" fmla="*/ 471989 h 471989"/>
              <a:gd name="connsiteX1" fmla="*/ 0 w 2633472"/>
              <a:gd name="connsiteY1" fmla="*/ 471989 h 471989"/>
              <a:gd name="connsiteX2" fmla="*/ 0 w 2633472"/>
              <a:gd name="connsiteY2" fmla="*/ 151949 h 471989"/>
              <a:gd name="connsiteX3" fmla="*/ 1117475 w 2633472"/>
              <a:gd name="connsiteY3" fmla="*/ 151949 h 471989"/>
              <a:gd name="connsiteX4" fmla="*/ 1316735 w 2633472"/>
              <a:gd name="connsiteY4" fmla="*/ 0 h 471989"/>
              <a:gd name="connsiteX5" fmla="*/ 1515995 w 2633472"/>
              <a:gd name="connsiteY5" fmla="*/ 151949 h 471989"/>
              <a:gd name="connsiteX6" fmla="*/ 2633472 w 2633472"/>
              <a:gd name="connsiteY6" fmla="*/ 151949 h 471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33472" h="471989">
                <a:moveTo>
                  <a:pt x="2633472" y="471989"/>
                </a:moveTo>
                <a:lnTo>
                  <a:pt x="0" y="471989"/>
                </a:lnTo>
                <a:lnTo>
                  <a:pt x="0" y="151949"/>
                </a:lnTo>
                <a:lnTo>
                  <a:pt x="1117475" y="151949"/>
                </a:lnTo>
                <a:lnTo>
                  <a:pt x="1316735" y="0"/>
                </a:lnTo>
                <a:lnTo>
                  <a:pt x="1515995" y="151949"/>
                </a:lnTo>
                <a:lnTo>
                  <a:pt x="2633472" y="15194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9DA70D42-4079-40FC-B2D1-F21421C739DE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374450" y="2230593"/>
            <a:ext cx="3520440" cy="4054394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pPr lvl="0"/>
            <a:r>
              <a:rPr lang="en-US" dirty="0"/>
              <a:t>Category 2 Conten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4EE1F9AE-A139-4E48-AE50-01DD733415D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472058" y="1584974"/>
            <a:ext cx="3772280" cy="267990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DAC3256B-BF2B-4513-AE1D-AB191D6544B7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246434" y="1584973"/>
            <a:ext cx="3776472" cy="267991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350B04E8-1EE4-4BE4-9547-E0D6AE7FD13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25002" y="1584974"/>
            <a:ext cx="3774376" cy="267990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CA93F35-48D1-4CA2-A684-2C1A5AAA44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004A139-DC13-416A-8E49-2544F4C6BDE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21295675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9E0AA26-5A55-4108-B5A8-0A6A2EFE749B}"/>
              </a:ext>
            </a:extLst>
          </p:cNvPr>
          <p:cNvSpPr/>
          <p:nvPr userDrawn="1"/>
        </p:nvSpPr>
        <p:spPr>
          <a:xfrm rot="16200000">
            <a:off x="10477118" y="631801"/>
            <a:ext cx="381000" cy="2267712"/>
          </a:xfrm>
          <a:custGeom>
            <a:avLst/>
            <a:gdLst>
              <a:gd name="connsiteX0" fmla="*/ 381000 w 381000"/>
              <a:gd name="connsiteY0" fmla="*/ 0 h 2036832"/>
              <a:gd name="connsiteX1" fmla="*/ 381000 w 381000"/>
              <a:gd name="connsiteY1" fmla="*/ 1449318 h 2036832"/>
              <a:gd name="connsiteX2" fmla="*/ 381000 w 381000"/>
              <a:gd name="connsiteY2" fmla="*/ 1866900 h 2036832"/>
              <a:gd name="connsiteX3" fmla="*/ 381000 w 381000"/>
              <a:gd name="connsiteY3" fmla="*/ 1919329 h 2036832"/>
              <a:gd name="connsiteX4" fmla="*/ 190500 w 381000"/>
              <a:gd name="connsiteY4" fmla="*/ 2036832 h 2036832"/>
              <a:gd name="connsiteX5" fmla="*/ 0 w 381000"/>
              <a:gd name="connsiteY5" fmla="*/ 1919329 h 2036832"/>
              <a:gd name="connsiteX6" fmla="*/ 0 w 381000"/>
              <a:gd name="connsiteY6" fmla="*/ 1866900 h 2036832"/>
              <a:gd name="connsiteX7" fmla="*/ 0 w 381000"/>
              <a:gd name="connsiteY7" fmla="*/ 1449318 h 2036832"/>
              <a:gd name="connsiteX8" fmla="*/ 0 w 381000"/>
              <a:gd name="connsiteY8" fmla="*/ 0 h 2036832"/>
              <a:gd name="connsiteX0" fmla="*/ 381000 w 381000"/>
              <a:gd name="connsiteY0" fmla="*/ 0 h 2127320"/>
              <a:gd name="connsiteX1" fmla="*/ 381000 w 381000"/>
              <a:gd name="connsiteY1" fmla="*/ 1449318 h 2127320"/>
              <a:gd name="connsiteX2" fmla="*/ 381000 w 381000"/>
              <a:gd name="connsiteY2" fmla="*/ 1866900 h 2127320"/>
              <a:gd name="connsiteX3" fmla="*/ 381000 w 381000"/>
              <a:gd name="connsiteY3" fmla="*/ 1919329 h 2127320"/>
              <a:gd name="connsiteX4" fmla="*/ 195262 w 381000"/>
              <a:gd name="connsiteY4" fmla="*/ 2127320 h 2127320"/>
              <a:gd name="connsiteX5" fmla="*/ 0 w 381000"/>
              <a:gd name="connsiteY5" fmla="*/ 1919329 h 2127320"/>
              <a:gd name="connsiteX6" fmla="*/ 0 w 381000"/>
              <a:gd name="connsiteY6" fmla="*/ 1866900 h 2127320"/>
              <a:gd name="connsiteX7" fmla="*/ 0 w 381000"/>
              <a:gd name="connsiteY7" fmla="*/ 1449318 h 2127320"/>
              <a:gd name="connsiteX8" fmla="*/ 0 w 381000"/>
              <a:gd name="connsiteY8" fmla="*/ 0 h 2127320"/>
              <a:gd name="connsiteX9" fmla="*/ 381000 w 381000"/>
              <a:gd name="connsiteY9" fmla="*/ 0 h 2127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81000" h="2127320">
                <a:moveTo>
                  <a:pt x="381000" y="0"/>
                </a:moveTo>
                <a:lnTo>
                  <a:pt x="381000" y="1449318"/>
                </a:lnTo>
                <a:lnTo>
                  <a:pt x="381000" y="1866900"/>
                </a:lnTo>
                <a:lnTo>
                  <a:pt x="381000" y="1919329"/>
                </a:lnTo>
                <a:lnTo>
                  <a:pt x="195262" y="2127320"/>
                </a:lnTo>
                <a:lnTo>
                  <a:pt x="0" y="1919329"/>
                </a:lnTo>
                <a:lnTo>
                  <a:pt x="0" y="1866900"/>
                </a:lnTo>
                <a:lnTo>
                  <a:pt x="0" y="1449318"/>
                </a:lnTo>
                <a:lnTo>
                  <a:pt x="0" y="0"/>
                </a:lnTo>
                <a:lnTo>
                  <a:pt x="381000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n>
                <a:noFill/>
              </a:ln>
              <a:solidFill>
                <a:schemeClr val="accent5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8C206E4-A846-49D1-9F43-82AC1B1B7A01}"/>
              </a:ext>
            </a:extLst>
          </p:cNvPr>
          <p:cNvSpPr/>
          <p:nvPr userDrawn="1"/>
        </p:nvSpPr>
        <p:spPr>
          <a:xfrm>
            <a:off x="7266050" y="1575157"/>
            <a:ext cx="2267712" cy="381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5BA167C-5162-4EB5-A802-12CD7EEFDAA7}"/>
              </a:ext>
            </a:extLst>
          </p:cNvPr>
          <p:cNvSpPr/>
          <p:nvPr userDrawn="1"/>
        </p:nvSpPr>
        <p:spPr>
          <a:xfrm>
            <a:off x="476249" y="1575157"/>
            <a:ext cx="2267712" cy="381000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B1F800D-43B2-4BDE-8CAF-248E8EB0E12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476250" y="1649923"/>
            <a:ext cx="2276599" cy="288478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397D5AC-DA07-4572-A589-435188180FD5}"/>
              </a:ext>
            </a:extLst>
          </p:cNvPr>
          <p:cNvSpPr/>
          <p:nvPr userDrawn="1"/>
        </p:nvSpPr>
        <p:spPr>
          <a:xfrm>
            <a:off x="2739516" y="1575157"/>
            <a:ext cx="2267712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472CCB-3FAF-4DDF-894F-C22DB6189E0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752850" y="1649923"/>
            <a:ext cx="2267712" cy="288478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2F5364-F409-45C8-B321-F3FA36EB702A}"/>
              </a:ext>
            </a:extLst>
          </p:cNvPr>
          <p:cNvSpPr/>
          <p:nvPr userDrawn="1"/>
        </p:nvSpPr>
        <p:spPr>
          <a:xfrm>
            <a:off x="5002783" y="1575157"/>
            <a:ext cx="2267712" cy="381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A6FC6AA-3CB1-484E-899D-7524953D33E7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5007227" y="1649923"/>
            <a:ext cx="2267712" cy="288478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8FF8CA5-6710-42CC-8BFC-AF7C9090FAA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270495" y="1649923"/>
            <a:ext cx="2267712" cy="288478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5AD22AD9-5667-44A1-B695-B04823FDDC9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524872" y="1649923"/>
            <a:ext cx="2267712" cy="288478"/>
          </a:xfrm>
        </p:spPr>
        <p:txBody>
          <a:bodyPr>
            <a:normAutofit/>
          </a:bodyPr>
          <a:lstStyle>
            <a:lvl1pPr marL="0" indent="0" algn="ctr">
              <a:buNone/>
              <a:defRPr sz="1000" b="1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9D3C624-AFBD-4A6E-9203-29DCF5A9B31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81405" y="2126716"/>
            <a:ext cx="2057400" cy="4178591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200"/>
            </a:lvl1pPr>
          </a:lstStyle>
          <a:p>
            <a:pPr lvl="0"/>
            <a:r>
              <a:rPr lang="en-US" dirty="0"/>
              <a:t>Item 1 Content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70CA1BAC-05B8-4B23-9BFC-7952FD59E1A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843561" y="2126716"/>
            <a:ext cx="2057400" cy="4178591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200"/>
            </a:lvl1pPr>
          </a:lstStyle>
          <a:p>
            <a:pPr lvl="0"/>
            <a:r>
              <a:rPr lang="en-US" dirty="0"/>
              <a:t>Item 2 Content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3BDA912E-0A56-424B-8460-D18A3E57BAF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105717" y="2126715"/>
            <a:ext cx="2057400" cy="4178591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200"/>
            </a:lvl1pPr>
          </a:lstStyle>
          <a:p>
            <a:pPr lvl="0"/>
            <a:r>
              <a:rPr lang="en-US" dirty="0"/>
              <a:t>Item 3 Content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61EA4AA-917C-432B-BACF-A8094E0CF9DA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7367873" y="2126715"/>
            <a:ext cx="2057400" cy="4178591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200"/>
            </a:lvl1pPr>
          </a:lstStyle>
          <a:p>
            <a:pPr lvl="0"/>
            <a:r>
              <a:rPr lang="en-US" dirty="0"/>
              <a:t>Item 4 Content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1DE3E04-08DD-4ECE-8B14-335617B11783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9630028" y="2126715"/>
            <a:ext cx="2057400" cy="4178591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1200"/>
            </a:lvl1pPr>
          </a:lstStyle>
          <a:p>
            <a:pPr lvl="0"/>
            <a:r>
              <a:rPr lang="en-US" dirty="0"/>
              <a:t>Item 5 Content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E8C6DDB4-ED19-4549-9C78-37F7C9E15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22E4195-068B-4991-900A-11FCD70E3F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31940403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Break">
  <p:cSld name="Section Break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67"/>
          <p:cNvSpPr/>
          <p:nvPr/>
        </p:nvSpPr>
        <p:spPr>
          <a:xfrm>
            <a:off x="-1" y="-1"/>
            <a:ext cx="12192000" cy="6858000"/>
          </a:xfrm>
          <a:prstGeom prst="rect">
            <a:avLst/>
          </a:prstGeom>
          <a:solidFill>
            <a:srgbClr val="0B485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67"/>
          <p:cNvSpPr txBox="1">
            <a:spLocks noGrp="1"/>
          </p:cNvSpPr>
          <p:nvPr>
            <p:ph type="title"/>
          </p:nvPr>
        </p:nvSpPr>
        <p:spPr>
          <a:xfrm>
            <a:off x="1539949" y="2342781"/>
            <a:ext cx="9052841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Oswald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4" name="Google Shape;34;p67"/>
          <p:cNvSpPr txBox="1">
            <a:spLocks noGrp="1"/>
          </p:cNvSpPr>
          <p:nvPr>
            <p:ph type="body" idx="1"/>
          </p:nvPr>
        </p:nvSpPr>
        <p:spPr>
          <a:xfrm>
            <a:off x="1595438" y="3913188"/>
            <a:ext cx="5911850" cy="1238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800"/>
              <a:buChar char="•"/>
              <a:defRPr sz="1800" b="0" i="0">
                <a:solidFill>
                  <a:schemeClr val="lt1"/>
                </a:solidFill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 b="0" i="0">
                <a:solidFill>
                  <a:schemeClr val="lt1"/>
                </a:solidFill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b="0" i="0">
                <a:solidFill>
                  <a:schemeClr val="lt1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 b="0" i="0">
                <a:solidFill>
                  <a:schemeClr val="lt1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 b="0" i="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5" name="Google Shape;35;p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52250" y="6344600"/>
            <a:ext cx="317500" cy="317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2481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B711016-134F-5C48-9333-952147DA16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60353"/>
            <a:ext cx="12192000" cy="5976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685800"/>
            <a:ext cx="6315075" cy="914400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2F020C-ED9D-3D4B-87CE-293DD453B09F}" type="datetime1">
              <a:rPr lang="en-US" smtClean="0"/>
              <a:t>10/1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0BA69FD4-0853-466A-8281-F0FB0ABD8192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B58C47-CDC1-F643-91E9-7362B65230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94986" y="5876593"/>
            <a:ext cx="317500" cy="31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473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" name="Group"/>
          <p:cNvGrpSpPr/>
          <p:nvPr/>
        </p:nvGrpSpPr>
        <p:grpSpPr>
          <a:xfrm>
            <a:off x="217488" y="152400"/>
            <a:ext cx="5091113" cy="949325"/>
            <a:chOff x="0" y="0"/>
            <a:chExt cx="5091112" cy="949325"/>
          </a:xfrm>
        </p:grpSpPr>
        <p:pic>
          <p:nvPicPr>
            <p:cNvPr id="96" name="image2.png" descr="image2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04967" y="0"/>
              <a:ext cx="1886146" cy="94932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102" name="Group"/>
            <p:cNvGrpSpPr/>
            <p:nvPr/>
          </p:nvGrpSpPr>
          <p:grpSpPr>
            <a:xfrm>
              <a:off x="-1" y="206375"/>
              <a:ext cx="3030539" cy="536575"/>
              <a:chOff x="0" y="0"/>
              <a:chExt cx="3030537" cy="536574"/>
            </a:xfrm>
          </p:grpSpPr>
          <p:sp>
            <p:nvSpPr>
              <p:cNvPr id="97" name="Circle"/>
              <p:cNvSpPr/>
              <p:nvPr/>
            </p:nvSpPr>
            <p:spPr>
              <a:xfrm>
                <a:off x="0" y="0"/>
                <a:ext cx="530227" cy="536575"/>
              </a:xfrm>
              <a:prstGeom prst="ellipse">
                <a:avLst/>
              </a:prstGeom>
              <a:solidFill>
                <a:srgbClr val="FFF6DC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EFFFF"/>
                    </a:solidFill>
                  </a:defRPr>
                </a:pPr>
                <a:endParaRPr dirty="0"/>
              </a:p>
            </p:txBody>
          </p:sp>
          <p:sp>
            <p:nvSpPr>
              <p:cNvPr id="98" name="Circle"/>
              <p:cNvSpPr/>
              <p:nvPr/>
            </p:nvSpPr>
            <p:spPr>
              <a:xfrm>
                <a:off x="627062" y="0"/>
                <a:ext cx="530227" cy="536575"/>
              </a:xfrm>
              <a:prstGeom prst="ellipse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EFFFF"/>
                    </a:solidFill>
                  </a:defRPr>
                </a:pPr>
                <a:endParaRPr dirty="0"/>
              </a:p>
            </p:txBody>
          </p:sp>
          <p:sp>
            <p:nvSpPr>
              <p:cNvPr id="99" name="Circle"/>
              <p:cNvSpPr/>
              <p:nvPr/>
            </p:nvSpPr>
            <p:spPr>
              <a:xfrm>
                <a:off x="1255712" y="0"/>
                <a:ext cx="528639" cy="536575"/>
              </a:xfrm>
              <a:prstGeom prst="ellipse">
                <a:avLst/>
              </a:prstGeom>
              <a:solidFill>
                <a:schemeClr val="accent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EFFFF"/>
                    </a:solidFill>
                  </a:defRPr>
                </a:pPr>
                <a:endParaRPr dirty="0"/>
              </a:p>
            </p:txBody>
          </p:sp>
          <p:sp>
            <p:nvSpPr>
              <p:cNvPr id="100" name="Circle"/>
              <p:cNvSpPr/>
              <p:nvPr/>
            </p:nvSpPr>
            <p:spPr>
              <a:xfrm>
                <a:off x="1882774" y="0"/>
                <a:ext cx="528639" cy="536575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EFFFF"/>
                    </a:solidFill>
                  </a:defRPr>
                </a:pPr>
                <a:endParaRPr dirty="0"/>
              </a:p>
            </p:txBody>
          </p:sp>
          <p:sp>
            <p:nvSpPr>
              <p:cNvPr id="101" name="Circle"/>
              <p:cNvSpPr/>
              <p:nvPr/>
            </p:nvSpPr>
            <p:spPr>
              <a:xfrm>
                <a:off x="2500311" y="0"/>
                <a:ext cx="530227" cy="536575"/>
              </a:xfrm>
              <a:prstGeom prst="ellipse">
                <a:avLst/>
              </a:prstGeom>
              <a:solidFill>
                <a:schemeClr val="accent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EFFFF"/>
                    </a:solidFill>
                  </a:defRPr>
                </a:pPr>
                <a:endParaRPr dirty="0"/>
              </a:p>
            </p:txBody>
          </p:sp>
        </p:grpSp>
      </p:grpSp>
      <p:sp>
        <p:nvSpPr>
          <p:cNvPr id="104" name="Title Text"/>
          <p:cNvSpPr>
            <a:spLocks noGrp="1"/>
          </p:cNvSpPr>
          <p:nvPr>
            <p:ph type="title"/>
          </p:nvPr>
        </p:nvSpPr>
        <p:spPr>
          <a:xfrm>
            <a:off x="5744031" y="31750"/>
            <a:ext cx="6031934" cy="949326"/>
          </a:xfrm>
          <a:prstGeom prst="rect">
            <a:avLst/>
          </a:prstGeom>
        </p:spPr>
        <p:txBody>
          <a:bodyPr anchor="b"/>
          <a:lstStyle>
            <a:lvl1pPr>
              <a:defRPr sz="48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10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10225149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58FEB-C2CE-4535-A7C6-071F0BF8FC52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661527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3441" y="1554480"/>
            <a:ext cx="10728959" cy="4572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853440" y="0"/>
            <a:ext cx="7924800" cy="1097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54611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782300" y="57150"/>
            <a:ext cx="1219200" cy="2476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latin typeface="Calibri"/>
              </a:rPr>
              <a:t>GS-</a:t>
            </a:r>
            <a:fld id="{3A48953D-329B-49FC-8DE7-70AAB4951F29}" type="slidenum">
              <a:rPr lang="en-US" smtClean="0">
                <a:latin typeface="Calibri"/>
              </a:rPr>
              <a:pPr/>
              <a:t>‹#›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60611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6200"/>
            <a:ext cx="10972800" cy="914400"/>
          </a:xfr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19201"/>
            <a:ext cx="5364480" cy="5014915"/>
          </a:xfrm>
        </p:spPr>
        <p:txBody>
          <a:bodyPr/>
          <a:lstStyle>
            <a:lvl1pPr>
              <a:defRPr sz="2400">
                <a:latin typeface="Calibri" pitchFamily="34" charset="0"/>
              </a:defRPr>
            </a:lvl1pPr>
            <a:lvl2pPr>
              <a:defRPr sz="2000">
                <a:latin typeface="Calibri" pitchFamily="34" charset="0"/>
              </a:defRPr>
            </a:lvl2pPr>
            <a:lvl3pPr>
              <a:defRPr sz="1800">
                <a:latin typeface="Calibri" pitchFamily="34" charset="0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219201"/>
            <a:ext cx="5364480" cy="5014915"/>
          </a:xfrm>
        </p:spPr>
        <p:txBody>
          <a:bodyPr/>
          <a:lstStyle>
            <a:lvl1pPr>
              <a:defRPr sz="2400">
                <a:latin typeface="Calibri" pitchFamily="34" charset="0"/>
              </a:defRPr>
            </a:lvl1pPr>
            <a:lvl2pPr>
              <a:defRPr sz="2000">
                <a:latin typeface="Calibri" pitchFamily="34" charset="0"/>
              </a:defRPr>
            </a:lvl2pPr>
            <a:lvl3pPr>
              <a:defRPr sz="1800">
                <a:latin typeface="Calibri" pitchFamily="34" charset="0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028267" y="65532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kumimoji="1" sz="1200" b="0" i="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 dirty="0"/>
              <a:t>-</a:t>
            </a:r>
            <a:fld id="{6AC3ED75-0457-4617-82BA-579306C35990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625853" y="6553200"/>
            <a:ext cx="1625600" cy="2286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1200" b="0" i="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329972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pyright Only Agile 201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9AA8B-2E7A-4BBC-8FDE-CA7CF71DD33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8715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95FA8D-093A-4B74-BDE7-304313C1F1A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6248" y="1600200"/>
            <a:ext cx="11325224" cy="43965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6C289BF-456D-4034-9A3A-6CA7793BD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EE905BB-E8BD-481A-81CF-68466EFC447E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25017171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1003528"/>
            <a:ext cx="11582400" cy="5567683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67633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1003528"/>
            <a:ext cx="11582400" cy="556768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15364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307284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42358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53988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07745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6"/>
          </p:nvPr>
        </p:nvSpPr>
        <p:spPr>
          <a:xfrm>
            <a:off x="304800" y="1412218"/>
            <a:ext cx="11582400" cy="5158992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33334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Char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11582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304800" y="1715757"/>
            <a:ext cx="11582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1407950"/>
            <a:ext cx="11582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146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51988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15798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18562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96000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31512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19225"/>
            <a:ext cx="5486400" cy="4981575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419224"/>
            <a:ext cx="5486400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6400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304800" y="133476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400800" y="133476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1977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458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04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6400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1259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D77ADD-5554-403A-AF2E-CC45B0243C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6250" y="1600201"/>
            <a:ext cx="5532120" cy="44178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C9653B-D876-413B-A95F-A6CF6A89E1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54" y="1600200"/>
            <a:ext cx="5532120" cy="4417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EA311B-4458-4E22-9235-DDA1D89B5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B07879A-0CCC-44DB-81CF-7728DED3E74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26030927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19225"/>
            <a:ext cx="5486400" cy="4981575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419224"/>
            <a:ext cx="5486400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6400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4979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Tabl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458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/>
          </p:nvPr>
        </p:nvSpPr>
        <p:spPr>
          <a:xfrm>
            <a:off x="6400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71354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3450336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005840"/>
            <a:ext cx="3450336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005840"/>
            <a:ext cx="3450336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17041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04919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29015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419224"/>
            <a:ext cx="3450336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419224"/>
            <a:ext cx="3450336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04800" y="1419225"/>
            <a:ext cx="3450336" cy="4981575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3450336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304800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17"/>
          </p:nvPr>
        </p:nvSpPr>
        <p:spPr>
          <a:xfrm>
            <a:off x="4370831" y="1005841"/>
            <a:ext cx="3450336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4370831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8"/>
          </p:nvPr>
        </p:nvSpPr>
        <p:spPr>
          <a:xfrm>
            <a:off x="8436861" y="1005841"/>
            <a:ext cx="3450336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8436861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19593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743055"/>
            <a:ext cx="3450336" cy="4621169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743055"/>
            <a:ext cx="3450336" cy="4621169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743055"/>
            <a:ext cx="3450336" cy="4621169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04800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4370832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07950"/>
            <a:ext cx="3450336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4"/>
          </p:nvPr>
        </p:nvSpPr>
        <p:spPr>
          <a:xfrm>
            <a:off x="4370832" y="1407950"/>
            <a:ext cx="3450336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8436863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5"/>
          </p:nvPr>
        </p:nvSpPr>
        <p:spPr>
          <a:xfrm>
            <a:off x="8436863" y="1407950"/>
            <a:ext cx="3450336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9905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Layou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0584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05840"/>
            <a:ext cx="5486400" cy="539088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78021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Layou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359478"/>
            <a:ext cx="5486400" cy="224641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7"/>
            <a:ext cx="5486400" cy="5037251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4147303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304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3"/>
          </p:nvPr>
        </p:nvSpPr>
        <p:spPr>
          <a:xfrm>
            <a:off x="304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304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304800" y="3815747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63644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 with Sub-Header &amp;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768657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768657"/>
            <a:ext cx="5486400" cy="471595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381494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304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/>
          <p:cNvSpPr>
            <a:spLocks noGrp="1"/>
          </p:cNvSpPr>
          <p:nvPr>
            <p:ph type="body" idx="27"/>
          </p:nvPr>
        </p:nvSpPr>
        <p:spPr>
          <a:xfrm>
            <a:off x="304800" y="405464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857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Chart or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C9653B-D876-413B-A95F-A6CF6A89E1E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972050" y="1600201"/>
            <a:ext cx="6829424" cy="44284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uble Click Icon to Insert Chart/Graph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831EA80-978B-46A7-B8B2-56BB267694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6250" y="1600201"/>
            <a:ext cx="4238625" cy="44284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AA22AA33-4004-4FB9-A3F2-1B9004BAB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074D0AD-4B5C-445D-8B56-54C39FC0364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29312101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Lay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624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 Layou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30604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s with Sub-Header &amp;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441805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441805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114377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6400800" y="4114377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304800" y="3972389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 flipH="1">
            <a:off x="6400800" y="3972389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76429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Layout with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378035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78035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5179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304800" y="133437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400800" y="133437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060421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060421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5"/>
          </p:nvPr>
        </p:nvSpPr>
        <p:spPr>
          <a:xfrm>
            <a:off x="304800" y="4167217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6"/>
          </p:nvPr>
        </p:nvSpPr>
        <p:spPr>
          <a:xfrm>
            <a:off x="6400800" y="4167217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304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>
            <a:spLocks noGrp="1"/>
          </p:cNvSpPr>
          <p:nvPr>
            <p:ph type="body" idx="27"/>
          </p:nvPr>
        </p:nvSpPr>
        <p:spPr>
          <a:xfrm>
            <a:off x="304800" y="384960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8"/>
          </p:nvPr>
        </p:nvSpPr>
        <p:spPr>
          <a:xfrm>
            <a:off x="6400800" y="384960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3284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s with Sub-Header &amp;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768657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768657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381494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6400800" y="4381494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304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H="1">
            <a:off x="6400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/>
          <p:cNvSpPr>
            <a:spLocks noGrp="1"/>
          </p:cNvSpPr>
          <p:nvPr>
            <p:ph type="body" idx="27"/>
          </p:nvPr>
        </p:nvSpPr>
        <p:spPr>
          <a:xfrm>
            <a:off x="304800" y="405464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8"/>
          </p:nvPr>
        </p:nvSpPr>
        <p:spPr>
          <a:xfrm>
            <a:off x="6400800" y="405464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78831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all-ou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3320026"/>
            <a:ext cx="11582400" cy="3121828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304800" y="3141892"/>
            <a:ext cx="11582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04800" y="990029"/>
            <a:ext cx="11582400" cy="1973731"/>
          </a:xfrm>
        </p:spPr>
        <p:txBody>
          <a:bodyPr>
            <a:normAutofit/>
          </a:bodyPr>
          <a:lstStyle>
            <a:lvl1pPr marL="0" indent="0">
              <a:spcBef>
                <a:spcPts val="2000"/>
              </a:spcBef>
              <a:buNone/>
              <a:defRPr sz="2800" baseline="0">
                <a:solidFill>
                  <a:srgbClr val="7F7F7F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t>Click to edit call-out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18698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all-ou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6483509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116084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443859" y="1005840"/>
            <a:ext cx="4443341" cy="5394960"/>
          </a:xfrm>
        </p:spPr>
        <p:txBody>
          <a:bodyPr>
            <a:normAutofit/>
          </a:bodyPr>
          <a:lstStyle>
            <a:lvl1pPr marL="0" indent="0">
              <a:spcBef>
                <a:spcPts val="2000"/>
              </a:spcBef>
              <a:buNone/>
              <a:defRPr sz="2800" baseline="0">
                <a:solidFill>
                  <a:srgbClr val="7F7F7F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t>Click to edit call-out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90908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432816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242560" y="1400695"/>
            <a:ext cx="6644640" cy="5000105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93776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H="1">
            <a:off x="5242560" y="1320844"/>
            <a:ext cx="664464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21"/>
          </p:nvPr>
        </p:nvSpPr>
        <p:spPr>
          <a:xfrm>
            <a:off x="5242560" y="1005840"/>
            <a:ext cx="664464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77379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 with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664464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7559040" y="1341732"/>
            <a:ext cx="4328160" cy="505906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259767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H="1">
            <a:off x="7570095" y="1279792"/>
            <a:ext cx="432816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21"/>
          </p:nvPr>
        </p:nvSpPr>
        <p:spPr>
          <a:xfrm>
            <a:off x="7570095" y="971985"/>
            <a:ext cx="432816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08076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, Text &amp; Chart with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4937760" y="15179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242560" y="1906915"/>
            <a:ext cx="6644640" cy="4457309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304800" y="1517904"/>
            <a:ext cx="432816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5242560" y="1840382"/>
            <a:ext cx="664464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idx="21"/>
          </p:nvPr>
        </p:nvSpPr>
        <p:spPr>
          <a:xfrm>
            <a:off x="5242560" y="1532575"/>
            <a:ext cx="664464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34527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75AD3D5-F489-461B-9296-D2CB93574D11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76250" y="2120813"/>
            <a:ext cx="5532120" cy="3897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E206E69-502F-4CA5-B826-949B6532B9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54" y="2120813"/>
            <a:ext cx="5532120" cy="3897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B06A1-1624-4A4B-B047-4D0C811CEAB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6250" y="1603849"/>
            <a:ext cx="5532120" cy="395063"/>
          </a:xfrm>
        </p:spPr>
        <p:txBody>
          <a:bodyPr anchor="b">
            <a:normAutofit/>
          </a:bodyPr>
          <a:lstStyle>
            <a:lvl1pPr marL="0" indent="0">
              <a:buNone/>
              <a:defRPr sz="1800" b="1" spc="1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pc="150" dirty="0"/>
              <a:t>CLICK TO ADD TEXT HE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43B8A88-1280-46B4-9446-D9F84A775035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269354" y="1600200"/>
            <a:ext cx="5532120" cy="395063"/>
          </a:xfrm>
        </p:spPr>
        <p:txBody>
          <a:bodyPr anchor="b">
            <a:normAutofit/>
          </a:bodyPr>
          <a:lstStyle>
            <a:lvl1pPr marL="0" indent="0">
              <a:buNone/>
              <a:defRPr sz="1800" b="1" spc="1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pc="150" dirty="0"/>
              <a:t>CLICK TO ADD TEXT HER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2C29D2-8C2C-4E2C-A0EE-FB088665F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635C7FE-79CA-4E88-9FCA-641434394C3E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421626673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, Text &amp;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6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400800" y="4202443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6400800" y="3815747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1427531"/>
            <a:ext cx="5486400" cy="502433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096000" y="1005840"/>
            <a:ext cx="0" cy="54864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25189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6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400800" y="4202443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6400800" y="3815747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980615"/>
            <a:ext cx="5486400" cy="5471252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096000" y="996650"/>
            <a:ext cx="0" cy="54864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5363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ext and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4276277"/>
            <a:ext cx="5486400" cy="204825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4276277"/>
            <a:ext cx="5486400" cy="204825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3855653"/>
            <a:ext cx="0" cy="246888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4201800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4201800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3927849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/>
          </p:nvPr>
        </p:nvSpPr>
        <p:spPr>
          <a:xfrm>
            <a:off x="6400800" y="3927849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304800" y="1427532"/>
            <a:ext cx="11582400" cy="2314401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73492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3991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object 11"/>
          <p:cNvSpPr txBox="1"/>
          <p:nvPr/>
        </p:nvSpPr>
        <p:spPr>
          <a:xfrm>
            <a:off x="763934" y="3989526"/>
            <a:ext cx="10664135" cy="37997"/>
          </a:xfrm>
          <a:prstGeom prst="rect">
            <a:avLst/>
          </a:prstGeom>
          <a:solidFill>
            <a:srgbClr val="78A9DE"/>
          </a:solidFill>
          <a:ln w="19050">
            <a:solidFill>
              <a:srgbClr val="78A9DE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225425" algn="ctr">
              <a:lnSpc>
                <a:spcPct val="100000"/>
              </a:lnSpc>
            </a:pPr>
            <a:endParaRPr sz="1200" dirty="0">
              <a:latin typeface="+mj-lt"/>
              <a:cs typeface="Arial Unicode MS"/>
            </a:endParaRPr>
          </a:p>
        </p:txBody>
      </p:sp>
      <p:sp>
        <p:nvSpPr>
          <p:cNvPr id="10" name="Title 1"/>
          <p:cNvSpPr>
            <a:spLocks noGrp="1"/>
          </p:cNvSpPr>
          <p:nvPr userDrawn="1">
            <p:ph type="title"/>
          </p:nvPr>
        </p:nvSpPr>
        <p:spPr>
          <a:xfrm>
            <a:off x="762000" y="2593101"/>
            <a:ext cx="10668000" cy="1362075"/>
          </a:xfrm>
          <a:solidFill>
            <a:schemeClr val="tx2"/>
          </a:solidFill>
        </p:spPr>
        <p:txBody>
          <a:bodyPr lIns="182880" tIns="182880" rIns="182880" bIns="182880" anchor="ctr"/>
          <a:lstStyle>
            <a:lvl1pPr algn="ctr">
              <a:defRPr sz="4000" b="0" cap="all">
                <a:solidFill>
                  <a:schemeClr val="bg1"/>
                </a:solidFill>
              </a:defRPr>
            </a:lvl1pPr>
          </a:lstStyle>
          <a:p>
            <a:r>
              <a:rPr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09945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ographi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None/>
              <a:defRPr/>
            </a:lvl2pPr>
            <a:lvl3pPr marL="15364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307284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4pPr>
            <a:lvl5pPr marL="42358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70639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4A8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FFFFFF"/>
              </a:solidFill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04800" y="456229"/>
            <a:ext cx="11582400" cy="369332"/>
          </a:xfrm>
        </p:spPr>
        <p:txBody>
          <a:bodyPr tIns="45720" bIns="45720">
            <a:spAutoFit/>
          </a:bodyPr>
          <a:lstStyle>
            <a:lvl1pPr>
              <a:defRPr sz="2000">
                <a:solidFill>
                  <a:srgbClr val="003E7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91024 Corporate Services 1_1_vshare.pptx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839787"/>
            <a:ext cx="12192000" cy="0"/>
          </a:xfrm>
          <a:prstGeom prst="line">
            <a:avLst/>
          </a:prstGeom>
          <a:ln w="9525">
            <a:solidFill>
              <a:srgbClr val="003E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986590"/>
            <a:ext cx="11582400" cy="332797"/>
          </a:xfrm>
        </p:spPr>
        <p:txBody>
          <a:bodyPr/>
          <a:lstStyle>
            <a:lvl1pPr>
              <a:defRPr sz="1600">
                <a:solidFill>
                  <a:srgbClr val="589FA5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radeSecret"/>
          <p:cNvSpPr txBox="1"/>
          <p:nvPr userDrawn="1">
            <p:custDataLst>
              <p:tags r:id="rId4"/>
            </p:custDataLst>
          </p:nvPr>
        </p:nvSpPr>
        <p:spPr>
          <a:xfrm>
            <a:off x="7984949" y="25400"/>
            <a:ext cx="3453189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r"/>
            <a:r>
              <a:rPr lang="en-US" sz="800" spc="300" dirty="0">
                <a:solidFill>
                  <a:schemeClr val="accent5"/>
                </a:solidFill>
                <a:latin typeface="+mj-lt"/>
              </a:rPr>
              <a:t>TRADE SECRET &amp;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269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1003528"/>
            <a:ext cx="11582400" cy="5567683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25737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1003528"/>
            <a:ext cx="11582400" cy="556768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15364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307284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42358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53988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06313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6"/>
          </p:nvPr>
        </p:nvSpPr>
        <p:spPr>
          <a:xfrm>
            <a:off x="304800" y="1412218"/>
            <a:ext cx="11582400" cy="5158992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956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CAB22E-387C-40CE-BBD6-E7C4D14DEFFC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972050" y="1600201"/>
            <a:ext cx="6829424" cy="470011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ouble Click Icon to Insert Pictu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E417064-2DAD-41CD-AB28-2227BDA4EBD4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76250" y="1600201"/>
            <a:ext cx="4238625" cy="438593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2FECE7AE-4140-4ED5-8768-820EAC40D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42AF156-5408-4BE9-9E89-728755FD66FA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76248" y="6300316"/>
            <a:ext cx="4238625" cy="24115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416861154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Char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11582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304800" y="1715757"/>
            <a:ext cx="11582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1407950"/>
            <a:ext cx="11582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31200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747089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005840"/>
            <a:ext cx="548640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32988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3656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521056"/>
            <a:ext cx="548640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96000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17954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19225"/>
            <a:ext cx="5486400" cy="4981575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419224"/>
            <a:ext cx="5486400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6400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304800" y="133476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400800" y="133476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65845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458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04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6400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27046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19225"/>
            <a:ext cx="5486400" cy="4981575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00800" y="1419224"/>
            <a:ext cx="5486400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6400800" y="98428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987480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wo Table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1895475"/>
            <a:ext cx="5486400" cy="442905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458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/>
          </p:nvPr>
        </p:nvSpPr>
        <p:spPr>
          <a:xfrm>
            <a:off x="6400800" y="1407950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95536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3450336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005840"/>
            <a:ext cx="3450336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005840"/>
            <a:ext cx="3450336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2181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CAB22E-387C-40CE-BBD6-E7C4D14DEFFC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10048"/>
            <a:ext cx="4772025" cy="6581670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ouble Click Icon to Insert Pictu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9F1AF3F-12ED-443D-92D4-DA793D836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6702" y="676811"/>
            <a:ext cx="6554772" cy="6041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04D8EBD-4C09-4652-992B-3FD9C3427C2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5246702" y="1600200"/>
            <a:ext cx="6554772" cy="440719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26C67DA-F5C4-48EE-B51D-636E07866BD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246702" y="6181190"/>
            <a:ext cx="6554772" cy="360284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14172752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13292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517904"/>
            <a:ext cx="3450336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528385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027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419224"/>
            <a:ext cx="3450336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419224"/>
            <a:ext cx="3450336" cy="498157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2983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129015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04800" y="1419225"/>
            <a:ext cx="3450336" cy="4981575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3450336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304800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17"/>
          </p:nvPr>
        </p:nvSpPr>
        <p:spPr>
          <a:xfrm>
            <a:off x="4370831" y="1005841"/>
            <a:ext cx="3450336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4370831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8"/>
          </p:nvPr>
        </p:nvSpPr>
        <p:spPr>
          <a:xfrm>
            <a:off x="8436861" y="1005841"/>
            <a:ext cx="3450336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8436861" y="1359411"/>
            <a:ext cx="345033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2591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&amp; Three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743055"/>
            <a:ext cx="3450336" cy="4621169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70832" y="1743055"/>
            <a:ext cx="3450336" cy="4621169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8436864" y="1743055"/>
            <a:ext cx="3450336" cy="4621169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04800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4370832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07950"/>
            <a:ext cx="3450336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4"/>
          </p:nvPr>
        </p:nvSpPr>
        <p:spPr>
          <a:xfrm>
            <a:off x="4370832" y="1407950"/>
            <a:ext cx="3450336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8436863" y="1715757"/>
            <a:ext cx="345033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5"/>
          </p:nvPr>
        </p:nvSpPr>
        <p:spPr>
          <a:xfrm>
            <a:off x="8436863" y="1407950"/>
            <a:ext cx="3450336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2165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Layou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0584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05840"/>
            <a:ext cx="5486400" cy="5390888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533721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Layou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359478"/>
            <a:ext cx="5486400" cy="224641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7"/>
            <a:ext cx="5486400" cy="5037251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4147303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304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3"/>
          </p:nvPr>
        </p:nvSpPr>
        <p:spPr>
          <a:xfrm>
            <a:off x="304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304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304800" y="3815747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81236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 with Sub-Header &amp;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768657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768657"/>
            <a:ext cx="5486400" cy="471595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381494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304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/>
          <p:cNvSpPr>
            <a:spLocks noGrp="1"/>
          </p:cNvSpPr>
          <p:nvPr>
            <p:ph type="body" idx="27"/>
          </p:nvPr>
        </p:nvSpPr>
        <p:spPr>
          <a:xfrm>
            <a:off x="304800" y="405464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05987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Lay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50297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 Layout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014470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3927848"/>
            <a:ext cx="5486400" cy="246888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3701284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069959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s with Sub-Header &amp;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441805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441805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114377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6400800" y="4114377"/>
            <a:ext cx="5486400" cy="237744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304800" y="3972389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 flipH="1">
            <a:off x="6400800" y="3972389"/>
            <a:ext cx="5486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6591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ll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CAB22E-387C-40CE-BBD6-E7C4D14DEFFC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972049" y="1600201"/>
            <a:ext cx="3317233" cy="4680020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  <a:p>
            <a:endParaRPr 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28E9F22E-8782-4A4B-AC06-FA06B7B50C8C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8470258" y="1600201"/>
            <a:ext cx="3331216" cy="2238270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A65E72B-2C61-45F8-B554-5462B43DBB32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76250" y="1600200"/>
            <a:ext cx="4238625" cy="48688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2F34DCF-A359-4B21-BADB-59261E580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49" y="677461"/>
            <a:ext cx="11325223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2BBC4D6-317B-407B-BF9F-D64ED9788533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470256" y="4041951"/>
            <a:ext cx="3331216" cy="2238270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ouble Click Icon to Insert Picture</a:t>
            </a:r>
          </a:p>
          <a:p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E5686E8-9CAF-4F0E-90BE-C7C08EBFF9B4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248" y="6270970"/>
            <a:ext cx="11325224" cy="27050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Footnote style. Delete if this is not needed.</a:t>
            </a:r>
          </a:p>
        </p:txBody>
      </p:sp>
    </p:spTree>
    <p:extLst>
      <p:ext uri="{BB962C8B-B14F-4D97-AF65-F5344CB8AC3E}">
        <p14:creationId xmlns:p14="http://schemas.microsoft.com/office/powerpoint/2010/main" val="24274692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Layout with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378035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78035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05179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304800" y="133437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400800" y="133437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060421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060421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5"/>
          </p:nvPr>
        </p:nvSpPr>
        <p:spPr>
          <a:xfrm>
            <a:off x="304800" y="4167217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6"/>
          </p:nvPr>
        </p:nvSpPr>
        <p:spPr>
          <a:xfrm>
            <a:off x="6400800" y="4167217"/>
            <a:ext cx="5486400" cy="22860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304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>
            <a:spLocks noGrp="1"/>
          </p:cNvSpPr>
          <p:nvPr>
            <p:ph type="body" idx="27"/>
          </p:nvPr>
        </p:nvSpPr>
        <p:spPr>
          <a:xfrm>
            <a:off x="304800" y="384960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8"/>
          </p:nvPr>
        </p:nvSpPr>
        <p:spPr>
          <a:xfrm>
            <a:off x="6400800" y="384960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22118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s with Sub-Header &amp; Char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04800" y="1768657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768657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1401010"/>
            <a:ext cx="0" cy="512064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304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H="1">
            <a:off x="6400800" y="1715757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2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3"/>
          </p:nvPr>
        </p:nvSpPr>
        <p:spPr>
          <a:xfrm>
            <a:off x="304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1441806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04800" y="4381494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6400800" y="4381494"/>
            <a:ext cx="5486400" cy="210312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304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H="1">
            <a:off x="6400800" y="432859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/>
          <p:cNvSpPr>
            <a:spLocks noGrp="1"/>
          </p:cNvSpPr>
          <p:nvPr>
            <p:ph type="body" idx="27"/>
          </p:nvPr>
        </p:nvSpPr>
        <p:spPr>
          <a:xfrm>
            <a:off x="304800" y="405464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8"/>
          </p:nvPr>
        </p:nvSpPr>
        <p:spPr>
          <a:xfrm>
            <a:off x="6400800" y="4054643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10275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all-ou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3320026"/>
            <a:ext cx="11582400" cy="3121828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304800" y="3141892"/>
            <a:ext cx="11582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04800" y="990029"/>
            <a:ext cx="11582400" cy="1973731"/>
          </a:xfrm>
        </p:spPr>
        <p:txBody>
          <a:bodyPr>
            <a:normAutofit/>
          </a:bodyPr>
          <a:lstStyle>
            <a:lvl1pPr marL="0" indent="0">
              <a:spcBef>
                <a:spcPts val="2000"/>
              </a:spcBef>
              <a:buNone/>
              <a:defRPr sz="2800" baseline="0">
                <a:solidFill>
                  <a:srgbClr val="7F7F7F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t>Click to edit call-out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5540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all-ou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6483509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116084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443859" y="1005840"/>
            <a:ext cx="4443341" cy="5394960"/>
          </a:xfrm>
        </p:spPr>
        <p:txBody>
          <a:bodyPr>
            <a:normAutofit/>
          </a:bodyPr>
          <a:lstStyle>
            <a:lvl1pPr marL="0" indent="0">
              <a:spcBef>
                <a:spcPts val="2000"/>
              </a:spcBef>
              <a:buNone/>
              <a:defRPr sz="2800" baseline="0">
                <a:solidFill>
                  <a:srgbClr val="7F7F7F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t>Click to edit call-out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466633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432816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242560" y="1400695"/>
            <a:ext cx="6644640" cy="5000105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937760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H="1">
            <a:off x="5242560" y="1320844"/>
            <a:ext cx="664464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21"/>
          </p:nvPr>
        </p:nvSpPr>
        <p:spPr>
          <a:xfrm>
            <a:off x="5242560" y="1005840"/>
            <a:ext cx="664464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045283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 with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05840"/>
            <a:ext cx="6644640" cy="539496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7559040" y="1341732"/>
            <a:ext cx="4328160" cy="505906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259767" y="1005840"/>
            <a:ext cx="0" cy="539496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H="1">
            <a:off x="7570095" y="1279792"/>
            <a:ext cx="432816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21"/>
          </p:nvPr>
        </p:nvSpPr>
        <p:spPr>
          <a:xfrm>
            <a:off x="7570095" y="971985"/>
            <a:ext cx="432816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505859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, Text &amp; Chart with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4937760" y="1517904"/>
            <a:ext cx="0" cy="484632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4800" y="986589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242560" y="1906915"/>
            <a:ext cx="6644640" cy="4457309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304800" y="1517904"/>
            <a:ext cx="4328160" cy="4846320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5242560" y="1840382"/>
            <a:ext cx="664464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idx="21"/>
          </p:nvPr>
        </p:nvSpPr>
        <p:spPr>
          <a:xfrm>
            <a:off x="5242560" y="1532575"/>
            <a:ext cx="664464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64208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, Text &amp;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6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400800" y="4202443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6400800" y="3815747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5486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1427531"/>
            <a:ext cx="5486400" cy="5024336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096000" y="1005840"/>
            <a:ext cx="0" cy="54864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117656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00800" y="1359476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6400800" y="4202443"/>
            <a:ext cx="5486400" cy="2249424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400800" y="1288422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idx="24"/>
          </p:nvPr>
        </p:nvSpPr>
        <p:spPr>
          <a:xfrm>
            <a:off x="6400800" y="980615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400800" y="4123554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ph type="body" idx="27"/>
          </p:nvPr>
        </p:nvSpPr>
        <p:spPr>
          <a:xfrm>
            <a:off x="6400800" y="3815747"/>
            <a:ext cx="5486400" cy="319716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4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4800" y="980615"/>
            <a:ext cx="5486400" cy="5471252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096000" y="996650"/>
            <a:ext cx="0" cy="54864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92229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ext and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44623-58D8-4E3E-8C85-44C0CE42EE7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304800" y="4276277"/>
            <a:ext cx="5486400" cy="204825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6400800" y="4276277"/>
            <a:ext cx="5486400" cy="204825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6000" y="3855653"/>
            <a:ext cx="0" cy="246888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304800" y="4201800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400800" y="4201800"/>
            <a:ext cx="54864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304800" y="1005841"/>
            <a:ext cx="11582400" cy="353571"/>
          </a:xfrm>
        </p:spPr>
        <p:txBody>
          <a:bodyPr vert="horz" wrap="square" lIns="0" tIns="40964" rIns="0" bIns="40964" rtlCol="0" anchor="t">
            <a:spAutoFit/>
          </a:bodyPr>
          <a:lstStyle>
            <a:lvl1pPr marL="155038" indent="-155038">
              <a:buNone/>
              <a:defRPr lang="en-US" sz="1600" b="0" dirty="0" smtClean="0"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0"/>
          </p:nvPr>
        </p:nvSpPr>
        <p:spPr>
          <a:xfrm>
            <a:off x="304800" y="3927849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1"/>
          </p:nvPr>
        </p:nvSpPr>
        <p:spPr>
          <a:xfrm>
            <a:off x="6400800" y="3927849"/>
            <a:ext cx="5486400" cy="285861"/>
          </a:xfrm>
        </p:spPr>
        <p:txBody>
          <a:bodyPr vert="horz" wrap="square" lIns="0" tIns="40964" rIns="0" bIns="40964" rtlCol="0" anchor="b">
            <a:spAutoFit/>
          </a:bodyPr>
          <a:lstStyle>
            <a:lvl1pPr marL="155038" indent="-155038">
              <a:buNone/>
              <a:defRPr lang="en-US" sz="1200" b="0" cap="all" baseline="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 indent="0">
              <a:spcBef>
                <a:spcPts val="538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304800" y="1427532"/>
            <a:ext cx="11582400" cy="2314401"/>
          </a:xfrm>
        </p:spPr>
        <p:txBody>
          <a:bodyPr/>
          <a:lstStyle>
            <a:lvl1pPr marL="153642" indent="-153642">
              <a:spcBef>
                <a:spcPts val="1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1pPr>
            <a:lvl2pPr marL="307284" indent="-153642">
              <a:spcBef>
                <a:spcPts val="600"/>
              </a:spcBef>
              <a:buClr>
                <a:schemeClr val="accent3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2pPr>
            <a:lvl3pPr marL="423583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539881" indent="-116299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651912" indent="-112031">
              <a:spcBef>
                <a:spcPts val="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05466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9" Type="http://schemas.openxmlformats.org/officeDocument/2006/relationships/tags" Target="../tags/tag1.xml"/><Relationship Id="rId21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63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slideLayout" Target="../slideLayouts/slideLayout62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slideLayout" Target="../slideLayouts/slideLayout61.xml"/><Relationship Id="rId37" Type="http://schemas.openxmlformats.org/officeDocument/2006/relationships/slideLayout" Target="../slideLayouts/slideLayout66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slideLayout" Target="../slideLayouts/slideLayout64.xml"/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5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97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8" Type="http://schemas.openxmlformats.org/officeDocument/2006/relationships/slideLayout" Target="../slideLayouts/slideLayout7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29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32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slideLayout" Target="../slideLayouts/slideLayout129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slideLayout" Target="../slideLayouts/slideLayout128.xml"/><Relationship Id="rId30" Type="http://schemas.openxmlformats.org/officeDocument/2006/relationships/slideLayout" Target="../slideLayouts/slideLayout131.xml"/><Relationship Id="rId35" Type="http://schemas.openxmlformats.org/officeDocument/2006/relationships/slideLayout" Target="../slideLayouts/slideLayout136.xml"/><Relationship Id="rId8" Type="http://schemas.openxmlformats.org/officeDocument/2006/relationships/slideLayout" Target="../slideLayouts/slideLayout10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26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57.xml"/><Relationship Id="rId34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5" Type="http://schemas.openxmlformats.org/officeDocument/2006/relationships/slideLayout" Target="../slideLayouts/slideLayout161.xml"/><Relationship Id="rId33" Type="http://schemas.openxmlformats.org/officeDocument/2006/relationships/slideLayout" Target="../slideLayouts/slideLayout169.xml"/><Relationship Id="rId38" Type="http://schemas.openxmlformats.org/officeDocument/2006/relationships/tags" Target="../tags/tag6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29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24" Type="http://schemas.openxmlformats.org/officeDocument/2006/relationships/slideLayout" Target="../slideLayouts/slideLayout160.xml"/><Relationship Id="rId32" Type="http://schemas.openxmlformats.org/officeDocument/2006/relationships/slideLayout" Target="../slideLayouts/slideLayout168.xml"/><Relationship Id="rId37" Type="http://schemas.openxmlformats.org/officeDocument/2006/relationships/theme" Target="../theme/theme5.xml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23" Type="http://schemas.openxmlformats.org/officeDocument/2006/relationships/slideLayout" Target="../slideLayouts/slideLayout159.xml"/><Relationship Id="rId28" Type="http://schemas.openxmlformats.org/officeDocument/2006/relationships/slideLayout" Target="../slideLayouts/slideLayout164.xml"/><Relationship Id="rId36" Type="http://schemas.openxmlformats.org/officeDocument/2006/relationships/slideLayout" Target="../slideLayouts/slideLayout172.xml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31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slideLayout" Target="../slideLayouts/slideLayout158.xml"/><Relationship Id="rId27" Type="http://schemas.openxmlformats.org/officeDocument/2006/relationships/slideLayout" Target="../slideLayouts/slideLayout163.xml"/><Relationship Id="rId30" Type="http://schemas.openxmlformats.org/officeDocument/2006/relationships/slideLayout" Target="../slideLayouts/slideLayout166.xml"/><Relationship Id="rId35" Type="http://schemas.openxmlformats.org/officeDocument/2006/relationships/slideLayout" Target="../slideLayouts/slideLayout171.xml"/><Relationship Id="rId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20ABA-0899-41E6-ABAB-840E9A9CB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6248" y="1605280"/>
            <a:ext cx="11325224" cy="44262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DDAB0E97-2519-4A99-BE1C-7509ACCF4E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721"/>
          <a:stretch/>
        </p:blipFill>
        <p:spPr>
          <a:xfrm rot="10800000">
            <a:off x="-30481" y="6600765"/>
            <a:ext cx="12246187" cy="287713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800196A-181F-44A6-85D5-8203AF43ECFB}"/>
              </a:ext>
            </a:extLst>
          </p:cNvPr>
          <p:cNvSpPr txBox="1">
            <a:spLocks/>
          </p:cNvSpPr>
          <p:nvPr userDrawn="1"/>
        </p:nvSpPr>
        <p:spPr>
          <a:xfrm>
            <a:off x="381322" y="6671385"/>
            <a:ext cx="2374336" cy="16491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500" dirty="0"/>
              <a:t>TRADE SECRET &amp; STRICTLY CONFIDENTIA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785C15D-0CDC-4DF4-BA52-CF21D60F333A}"/>
              </a:ext>
            </a:extLst>
          </p:cNvPr>
          <p:cNvCxnSpPr>
            <a:cxnSpLocks/>
          </p:cNvCxnSpPr>
          <p:nvPr userDrawn="1"/>
        </p:nvCxnSpPr>
        <p:spPr>
          <a:xfrm>
            <a:off x="476250" y="1281590"/>
            <a:ext cx="11325225" cy="0"/>
          </a:xfrm>
          <a:prstGeom prst="line">
            <a:avLst/>
          </a:prstGeom>
          <a:ln w="3175">
            <a:solidFill>
              <a:schemeClr val="accent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01A98445-3E06-4C36-9CD8-0C3CDE2BA177}"/>
              </a:ext>
            </a:extLst>
          </p:cNvPr>
          <p:cNvSpPr txBox="1">
            <a:spLocks/>
          </p:cNvSpPr>
          <p:nvPr userDrawn="1"/>
        </p:nvSpPr>
        <p:spPr>
          <a:xfrm>
            <a:off x="11419111" y="6625551"/>
            <a:ext cx="355781" cy="25065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0BD3A2D-6C86-49E4-98BC-B23353E8750E}" type="slidenum">
              <a:rPr lang="en-US" sz="1000" b="1" smtClean="0">
                <a:solidFill>
                  <a:schemeClr val="accent1"/>
                </a:solidFill>
                <a:latin typeface="Fortescue Pro Display" panose="02040503090703040303" pitchFamily="18" charset="0"/>
              </a:rPr>
              <a:pPr algn="ctr"/>
              <a:t>‹#›</a:t>
            </a:fld>
            <a:endParaRPr lang="en-US" sz="1000" b="1" dirty="0">
              <a:solidFill>
                <a:schemeClr val="accent1"/>
              </a:solidFill>
              <a:latin typeface="Fortescue Pro Display" panose="02040503090703040303" pitchFamily="18" charset="0"/>
            </a:endParaRP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2E390EB-29CB-48AC-BBD4-FE5500F7F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50" y="677461"/>
            <a:ext cx="11325222" cy="6041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06B2631-2CEB-42F0-AB65-C272D7DDC6E4}"/>
              </a:ext>
            </a:extLst>
          </p:cNvPr>
          <p:cNvSpPr>
            <a:spLocks/>
          </p:cNvSpPr>
          <p:nvPr userDrawn="1"/>
        </p:nvSpPr>
        <p:spPr>
          <a:xfrm>
            <a:off x="-1644316" y="494714"/>
            <a:ext cx="1508760" cy="320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bg1"/>
                </a:solidFill>
              </a:rPr>
              <a:t>R-171, G-132, B-5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E614831-CE6F-4EB9-B8B2-B8F653430890}"/>
              </a:ext>
            </a:extLst>
          </p:cNvPr>
          <p:cNvSpPr>
            <a:spLocks/>
          </p:cNvSpPr>
          <p:nvPr userDrawn="1"/>
        </p:nvSpPr>
        <p:spPr>
          <a:xfrm>
            <a:off x="-1644316" y="1484142"/>
            <a:ext cx="1508760" cy="32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8, G-132, B-156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D3ACE9C0-C418-4119-8FAC-83C6F9FD36BF}"/>
              </a:ext>
            </a:extLst>
          </p:cNvPr>
          <p:cNvSpPr>
            <a:spLocks/>
          </p:cNvSpPr>
          <p:nvPr userDrawn="1"/>
        </p:nvSpPr>
        <p:spPr>
          <a:xfrm>
            <a:off x="-1644316" y="2018819"/>
            <a:ext cx="1508760" cy="320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bg1"/>
                </a:solidFill>
              </a:rPr>
              <a:t>R-97, G-161, B-224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9C3906B-4076-4A0F-A603-7CB058D2F919}"/>
              </a:ext>
            </a:extLst>
          </p:cNvPr>
          <p:cNvSpPr>
            <a:spLocks/>
          </p:cNvSpPr>
          <p:nvPr userDrawn="1"/>
        </p:nvSpPr>
        <p:spPr>
          <a:xfrm>
            <a:off x="-1644316" y="-3233"/>
            <a:ext cx="1508760" cy="3200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0, G-54, B-74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22603EF-39F3-47B9-B558-501FB59451D4}"/>
              </a:ext>
            </a:extLst>
          </p:cNvPr>
          <p:cNvSpPr>
            <a:spLocks/>
          </p:cNvSpPr>
          <p:nvPr userDrawn="1"/>
        </p:nvSpPr>
        <p:spPr>
          <a:xfrm>
            <a:off x="-1644316" y="989428"/>
            <a:ext cx="1508760" cy="320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bg1"/>
                </a:solidFill>
              </a:rPr>
              <a:t>R-29, G-101, B-113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CEBF9C5-CAA4-4051-81CF-6CF232F29D31}"/>
              </a:ext>
            </a:extLst>
          </p:cNvPr>
          <p:cNvSpPr>
            <a:spLocks/>
          </p:cNvSpPr>
          <p:nvPr userDrawn="1"/>
        </p:nvSpPr>
        <p:spPr>
          <a:xfrm>
            <a:off x="-1644316" y="2524332"/>
            <a:ext cx="1508760" cy="3200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82, G-231, B-250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F68DCEE-02A1-4997-81C9-067C034388EF}"/>
              </a:ext>
            </a:extLst>
          </p:cNvPr>
          <p:cNvSpPr>
            <a:spLocks/>
          </p:cNvSpPr>
          <p:nvPr userDrawn="1"/>
        </p:nvSpPr>
        <p:spPr>
          <a:xfrm>
            <a:off x="-1644317" y="4040871"/>
            <a:ext cx="1508760" cy="32004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15, G-185, B-122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71C85C0-A996-45AE-9C18-40C587A91E36}"/>
              </a:ext>
            </a:extLst>
          </p:cNvPr>
          <p:cNvSpPr>
            <a:spLocks/>
          </p:cNvSpPr>
          <p:nvPr userDrawn="1"/>
        </p:nvSpPr>
        <p:spPr>
          <a:xfrm>
            <a:off x="-1644316" y="6062923"/>
            <a:ext cx="1508760" cy="32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96, G-206, B-215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2631037-C062-455A-90B4-AAD749AC8ED2}"/>
              </a:ext>
            </a:extLst>
          </p:cNvPr>
          <p:cNvSpPr>
            <a:spLocks/>
          </p:cNvSpPr>
          <p:nvPr userDrawn="1"/>
        </p:nvSpPr>
        <p:spPr>
          <a:xfrm>
            <a:off x="-1644316" y="6568439"/>
            <a:ext cx="1508760" cy="320040"/>
          </a:xfrm>
          <a:prstGeom prst="rect">
            <a:avLst/>
          </a:prstGeom>
          <a:solidFill>
            <a:srgbClr val="A3CC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171, G-202, B-243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3102DA-E0B3-4E0F-B201-080A9798B7F0}"/>
              </a:ext>
            </a:extLst>
          </p:cNvPr>
          <p:cNvSpPr>
            <a:spLocks/>
          </p:cNvSpPr>
          <p:nvPr userDrawn="1"/>
        </p:nvSpPr>
        <p:spPr>
          <a:xfrm>
            <a:off x="-1639066" y="3535358"/>
            <a:ext cx="1508760" cy="320040"/>
          </a:xfrm>
          <a:prstGeom prst="rect">
            <a:avLst/>
          </a:prstGeom>
          <a:solidFill>
            <a:srgbClr val="0D6B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FFFFFF"/>
                </a:solidFill>
              </a:rPr>
              <a:t>R-13, G-107, B-147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9167A1E-C06B-4E20-87E6-49D78ADD6F51}"/>
              </a:ext>
            </a:extLst>
          </p:cNvPr>
          <p:cNvSpPr>
            <a:spLocks/>
          </p:cNvSpPr>
          <p:nvPr userDrawn="1"/>
        </p:nvSpPr>
        <p:spPr>
          <a:xfrm>
            <a:off x="-1644316" y="5051897"/>
            <a:ext cx="1508760" cy="320040"/>
          </a:xfrm>
          <a:prstGeom prst="rect">
            <a:avLst/>
          </a:prstGeom>
          <a:solidFill>
            <a:srgbClr val="2198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chemeClr val="bg1"/>
                </a:solidFill>
              </a:rPr>
              <a:t>R-33, G-152, B-172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0249A4A-BCB2-4BE0-B95A-A5A27B8830B3}"/>
              </a:ext>
            </a:extLst>
          </p:cNvPr>
          <p:cNvSpPr>
            <a:spLocks/>
          </p:cNvSpPr>
          <p:nvPr userDrawn="1"/>
        </p:nvSpPr>
        <p:spPr>
          <a:xfrm>
            <a:off x="-1644316" y="3029845"/>
            <a:ext cx="1508760" cy="320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08, G-232, B-248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1A15539-E89F-4A5B-8970-1D0CDBB6791C}"/>
              </a:ext>
            </a:extLst>
          </p:cNvPr>
          <p:cNvSpPr>
            <a:spLocks/>
          </p:cNvSpPr>
          <p:nvPr userDrawn="1"/>
        </p:nvSpPr>
        <p:spPr>
          <a:xfrm>
            <a:off x="12269558" y="0"/>
            <a:ext cx="1508760" cy="32004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bg1"/>
                </a:solidFill>
              </a:rPr>
              <a:t>R-0, G-0, B-0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8482372-E0BE-4BC5-9D8A-FCE25A2EED61}"/>
              </a:ext>
            </a:extLst>
          </p:cNvPr>
          <p:cNvSpPr>
            <a:spLocks/>
          </p:cNvSpPr>
          <p:nvPr userDrawn="1"/>
        </p:nvSpPr>
        <p:spPr>
          <a:xfrm>
            <a:off x="12269558" y="494714"/>
            <a:ext cx="1508760" cy="320040"/>
          </a:xfrm>
          <a:prstGeom prst="rect">
            <a:avLst/>
          </a:prstGeom>
          <a:solidFill>
            <a:srgbClr val="5F5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bg1"/>
                </a:solidFill>
              </a:rPr>
              <a:t>R-95, G-95, B-95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BC24E21-AE44-4654-A177-C9BB88B44D34}"/>
              </a:ext>
            </a:extLst>
          </p:cNvPr>
          <p:cNvSpPr>
            <a:spLocks/>
          </p:cNvSpPr>
          <p:nvPr userDrawn="1"/>
        </p:nvSpPr>
        <p:spPr>
          <a:xfrm>
            <a:off x="12269558" y="989428"/>
            <a:ext cx="1508760" cy="320040"/>
          </a:xfrm>
          <a:prstGeom prst="rect">
            <a:avLst/>
          </a:prstGeom>
          <a:solidFill>
            <a:srgbClr val="BCBC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chemeClr val="bg1"/>
                </a:solidFill>
              </a:rPr>
              <a:t>R-188, G-188, B-188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69E27860-3E7D-48DD-B7A0-E32B6DEEC513}"/>
              </a:ext>
            </a:extLst>
          </p:cNvPr>
          <p:cNvSpPr>
            <a:spLocks/>
          </p:cNvSpPr>
          <p:nvPr userDrawn="1"/>
        </p:nvSpPr>
        <p:spPr>
          <a:xfrm>
            <a:off x="12269558" y="1484142"/>
            <a:ext cx="1508760" cy="32004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00" b="1" spc="60" dirty="0">
                <a:solidFill>
                  <a:sysClr val="windowText" lastClr="000000"/>
                </a:solidFill>
              </a:rPr>
              <a:t>R-235, G-235, B-235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18CE6D-F0BC-449F-AEF2-48999C1AFD29}"/>
              </a:ext>
            </a:extLst>
          </p:cNvPr>
          <p:cNvSpPr>
            <a:spLocks/>
          </p:cNvSpPr>
          <p:nvPr userDrawn="1"/>
        </p:nvSpPr>
        <p:spPr>
          <a:xfrm>
            <a:off x="-1644316" y="4546384"/>
            <a:ext cx="1508760" cy="32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rgbClr val="000000"/>
                </a:solidFill>
              </a:rPr>
              <a:t>R-242, G-232, B-211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0763381-0E1C-4211-8831-FF572F377231}"/>
              </a:ext>
            </a:extLst>
          </p:cNvPr>
          <p:cNvSpPr>
            <a:spLocks/>
          </p:cNvSpPr>
          <p:nvPr userDrawn="1"/>
        </p:nvSpPr>
        <p:spPr>
          <a:xfrm>
            <a:off x="-1644316" y="5557410"/>
            <a:ext cx="1508760" cy="3200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marL="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09640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1928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28921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38562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04820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45784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867483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277124" algn="l" defTabSz="819281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1050" b="1" spc="60" dirty="0">
                <a:solidFill>
                  <a:sysClr val="windowText" lastClr="000000"/>
                </a:solidFill>
              </a:rPr>
              <a:t>R-196, G-234, B-240</a:t>
            </a:r>
          </a:p>
        </p:txBody>
      </p:sp>
    </p:spTree>
    <p:extLst>
      <p:ext uri="{BB962C8B-B14F-4D97-AF65-F5344CB8AC3E}">
        <p14:creationId xmlns:p14="http://schemas.microsoft.com/office/powerpoint/2010/main" val="3876381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6" r:id="rId2"/>
    <p:sldLayoutId id="2147483650" r:id="rId3"/>
    <p:sldLayoutId id="2147483652" r:id="rId4"/>
    <p:sldLayoutId id="2147483673" r:id="rId5"/>
    <p:sldLayoutId id="2147483653" r:id="rId6"/>
    <p:sldLayoutId id="2147483657" r:id="rId7"/>
    <p:sldLayoutId id="2147483668" r:id="rId8"/>
    <p:sldLayoutId id="2147483664" r:id="rId9"/>
    <p:sldLayoutId id="2147483669" r:id="rId10"/>
    <p:sldLayoutId id="2147483671" r:id="rId11"/>
    <p:sldLayoutId id="2147483672" r:id="rId12"/>
    <p:sldLayoutId id="2147483670" r:id="rId13"/>
    <p:sldLayoutId id="2147483661" r:id="rId14"/>
    <p:sldLayoutId id="2147483665" r:id="rId15"/>
    <p:sldLayoutId id="2147483666" r:id="rId16"/>
    <p:sldLayoutId id="2147483659" r:id="rId17"/>
    <p:sldLayoutId id="2147483667" r:id="rId18"/>
    <p:sldLayoutId id="2147483674" r:id="rId19"/>
    <p:sldLayoutId id="2147483662" r:id="rId20"/>
    <p:sldLayoutId id="2147483660" r:id="rId21"/>
    <p:sldLayoutId id="2147483813" r:id="rId22"/>
    <p:sldLayoutId id="2147483851" r:id="rId23"/>
    <p:sldLayoutId id="2147483858" r:id="rId24"/>
    <p:sldLayoutId id="2147483860" r:id="rId25"/>
    <p:sldLayoutId id="2147483866" r:id="rId26"/>
    <p:sldLayoutId id="2147483867" r:id="rId27"/>
    <p:sldLayoutId id="2147483868" r:id="rId28"/>
    <p:sldLayoutId id="2147483869" r:id="rId2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81080"/>
            <a:ext cx="11582400" cy="554005"/>
          </a:xfrm>
          <a:prstGeom prst="rect">
            <a:avLst/>
          </a:prstGeom>
        </p:spPr>
        <p:txBody>
          <a:bodyPr vert="horz" lIns="0" tIns="40964" rIns="0" bIns="40964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03528"/>
            <a:ext cx="11582400" cy="5394960"/>
          </a:xfrm>
          <a:prstGeom prst="rect">
            <a:avLst/>
          </a:prstGeom>
        </p:spPr>
        <p:txBody>
          <a:bodyPr vert="horz" lIns="0" tIns="40964" rIns="0" bIns="40964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" y="6670227"/>
            <a:ext cx="10971053" cy="149086"/>
          </a:xfrm>
          <a:prstGeom prst="rect">
            <a:avLst/>
          </a:prstGeom>
        </p:spPr>
        <p:txBody>
          <a:bodyPr vert="horz" wrap="square" lIns="0" tIns="40964" rIns="0" bIns="0" rtlCol="0" anchor="b" anchorCtr="0">
            <a:spAutoFit/>
          </a:bodyPr>
          <a:lstStyle>
            <a:lvl1pPr algn="l">
              <a:lnSpc>
                <a:spcPts val="780"/>
              </a:lnSpc>
              <a:spcBef>
                <a:spcPts val="0"/>
              </a:spcBef>
              <a:defRPr sz="7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5853" y="6654839"/>
            <a:ext cx="611347" cy="164475"/>
          </a:xfrm>
          <a:prstGeom prst="rect">
            <a:avLst/>
          </a:prstGeom>
        </p:spPr>
        <p:txBody>
          <a:bodyPr vert="horz" wrap="square" lIns="0" tIns="40964" rIns="0" bIns="0" rtlCol="0" anchor="b">
            <a:spAutoFit/>
          </a:bodyPr>
          <a:lstStyle>
            <a:lvl1pPr algn="r">
              <a:defRPr sz="800">
                <a:solidFill>
                  <a:schemeClr val="accent5"/>
                </a:solidFill>
                <a:latin typeface="+mj-lt"/>
              </a:defRPr>
            </a:lvl1pPr>
          </a:lstStyle>
          <a:p>
            <a:fld id="{6E444623-58D8-4E3E-8C85-44C0CE42EE7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839787"/>
            <a:ext cx="12192000" cy="0"/>
          </a:xfrm>
          <a:prstGeom prst="line">
            <a:avLst/>
          </a:prstGeom>
          <a:ln w="9525">
            <a:solidFill>
              <a:srgbClr val="003E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radeSecret"/>
          <p:cNvSpPr txBox="1"/>
          <p:nvPr userDrawn="1">
            <p:custDataLst>
              <p:tags r:id="rId39"/>
            </p:custDataLst>
          </p:nvPr>
        </p:nvSpPr>
        <p:spPr>
          <a:xfrm>
            <a:off x="8835793" y="25400"/>
            <a:ext cx="3145412" cy="19236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r"/>
            <a:r>
              <a:rPr lang="en-US" sz="650" spc="300" dirty="0">
                <a:solidFill>
                  <a:schemeClr val="accent5"/>
                </a:solidFill>
                <a:latin typeface="+mj-lt"/>
              </a:rPr>
              <a:t>TRADE SECRET &amp; STRICTLY CONFIDENTIAL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-838200" y="-4821"/>
            <a:ext cx="13858543" cy="6038173"/>
            <a:chOff x="-628650" y="-4821"/>
            <a:chExt cx="10393907" cy="6038173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-628650" y="15948"/>
              <a:ext cx="457200" cy="6017404"/>
              <a:chOff x="-628650" y="15948"/>
              <a:chExt cx="457200" cy="6017404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-628650" y="4315208"/>
                <a:ext cx="457200" cy="489780"/>
              </a:xfrm>
              <a:prstGeom prst="rect">
                <a:avLst/>
              </a:prstGeom>
              <a:solidFill>
                <a:srgbClr val="93C3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47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95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97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-628650" y="1244308"/>
                <a:ext cx="457200" cy="489780"/>
              </a:xfrm>
              <a:prstGeom prst="rect">
                <a:avLst/>
              </a:prstGeom>
              <a:solidFill>
                <a:srgbClr val="589F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88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59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65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-628650" y="1858488"/>
                <a:ext cx="457200" cy="489780"/>
              </a:xfrm>
              <a:prstGeom prst="rect">
                <a:avLst/>
              </a:prstGeom>
              <a:solidFill>
                <a:srgbClr val="88B4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36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8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83</a:t>
                </a: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-628650" y="3701028"/>
                <a:ext cx="457200" cy="489780"/>
              </a:xfrm>
              <a:prstGeom prst="rect">
                <a:avLst/>
              </a:prstGeom>
              <a:solidFill>
                <a:srgbClr val="A38FB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63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43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87</a:t>
                </a: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-628650" y="15948"/>
                <a:ext cx="457200" cy="489780"/>
              </a:xfrm>
              <a:prstGeom prst="rect">
                <a:avLst/>
              </a:prstGeom>
              <a:solidFill>
                <a:srgbClr val="004A8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74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36</a:t>
                </a: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-628650" y="4929388"/>
                <a:ext cx="457200" cy="489780"/>
              </a:xfrm>
              <a:prstGeom prst="rect">
                <a:avLst/>
              </a:prstGeom>
              <a:solidFill>
                <a:srgbClr val="B9D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85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21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53</a:t>
                </a: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-628650" y="630128"/>
                <a:ext cx="457200" cy="489780"/>
              </a:xfrm>
              <a:prstGeom prst="rect">
                <a:avLst/>
              </a:prstGeom>
              <a:solidFill>
                <a:srgbClr val="765C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18 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92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 B-150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-628650" y="5543572"/>
                <a:ext cx="457200" cy="489780"/>
              </a:xfrm>
              <a:prstGeom prst="rect">
                <a:avLst/>
              </a:prstGeom>
              <a:solidFill>
                <a:srgbClr val="DCDD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2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22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232</a:t>
                </a: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-628650" y="2472668"/>
                <a:ext cx="457200" cy="489780"/>
              </a:xfrm>
              <a:prstGeom prst="rect">
                <a:avLst/>
              </a:prstGeom>
              <a:solidFill>
                <a:srgbClr val="8C8D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4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4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52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-628650" y="3086848"/>
                <a:ext cx="457200" cy="489780"/>
              </a:xfrm>
              <a:prstGeom prst="rect">
                <a:avLst/>
              </a:prstGeom>
              <a:solidFill>
                <a:srgbClr val="78A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2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69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222</a:t>
                </a:r>
              </a:p>
            </p:txBody>
          </p:sp>
        </p:grpSp>
        <p:grpSp>
          <p:nvGrpSpPr>
            <p:cNvPr id="4" name="Group 3"/>
            <p:cNvGrpSpPr/>
            <p:nvPr userDrawn="1"/>
          </p:nvGrpSpPr>
          <p:grpSpPr>
            <a:xfrm>
              <a:off x="9308057" y="-4821"/>
              <a:ext cx="457200" cy="2516830"/>
              <a:chOff x="9308057" y="-4821"/>
              <a:chExt cx="457200" cy="2516830"/>
            </a:xfrm>
          </p:grpSpPr>
          <p:sp>
            <p:nvSpPr>
              <p:cNvPr id="25" name="Rectangle 24"/>
              <p:cNvSpPr/>
              <p:nvPr/>
            </p:nvSpPr>
            <p:spPr>
              <a:xfrm>
                <a:off x="9308057" y="2022229"/>
                <a:ext cx="457200" cy="48978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55 G-255 B-255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9308057" y="1346588"/>
                <a:ext cx="457200" cy="4897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0</a:t>
                </a: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9308057" y="-4821"/>
                <a:ext cx="457200" cy="489780"/>
              </a:xfrm>
              <a:prstGeom prst="rect">
                <a:avLst/>
              </a:prstGeom>
              <a:solidFill>
                <a:srgbClr val="0065B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0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79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9308057" y="670820"/>
                <a:ext cx="457200" cy="489907"/>
              </a:xfrm>
              <a:prstGeom prst="rect">
                <a:avLst/>
              </a:prstGeom>
              <a:solidFill>
                <a:srgbClr val="E9F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A88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33 G-247 B-25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8814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1" r:id="rId37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  <p:hf hdr="0" ftr="0" dt="0"/>
  <p:txStyles>
    <p:titleStyle>
      <a:lvl1pPr algn="l" defTabSz="819281" rtl="0" eaLnBrk="1" latinLnBrk="0" hangingPunct="1">
        <a:spcBef>
          <a:spcPct val="0"/>
        </a:spcBef>
        <a:buNone/>
        <a:defRPr sz="2000" kern="1200" cap="none" spc="0" baseline="0">
          <a:solidFill>
            <a:srgbClr val="003E74"/>
          </a:solidFill>
          <a:latin typeface="+mn-lt"/>
          <a:ea typeface="+mj-ea"/>
          <a:cs typeface="+mj-cs"/>
        </a:defRPr>
      </a:lvl1pPr>
    </p:titleStyle>
    <p:bodyStyle>
      <a:lvl1pPr marL="0" indent="0" algn="l" defTabSz="819281" rtl="0" eaLnBrk="1" latinLnBrk="0" hangingPunct="1">
        <a:lnSpc>
          <a:spcPct val="110000"/>
        </a:lnSpc>
        <a:spcBef>
          <a:spcPts val="1600"/>
        </a:spcBef>
        <a:buClr>
          <a:schemeClr val="accent3"/>
        </a:buClr>
        <a:buFont typeface="Arial" panose="020B0604020202020204" pitchFamily="34" charset="0"/>
        <a:buNone/>
        <a:defRPr sz="1600" kern="1200">
          <a:solidFill>
            <a:schemeClr val="accent3"/>
          </a:solidFill>
          <a:latin typeface="+mj-lt"/>
          <a:ea typeface="+mn-ea"/>
          <a:cs typeface="+mn-cs"/>
        </a:defRPr>
      </a:lvl1pPr>
      <a:lvl2pPr marL="153642" indent="-153642" algn="l" defTabSz="819281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07284" indent="-153642" algn="l" defTabSz="819281" rtl="0" eaLnBrk="1" latinLnBrk="0" hangingPunct="1">
        <a:lnSpc>
          <a:spcPct val="110000"/>
        </a:lnSpc>
        <a:spcBef>
          <a:spcPts val="200"/>
        </a:spcBef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23583" indent="-116299" algn="l" defTabSz="819281" rtl="0" eaLnBrk="1" latinLnBrk="0" hangingPunct="1">
        <a:lnSpc>
          <a:spcPct val="110000"/>
        </a:lnSpc>
        <a:spcBef>
          <a:spcPts val="20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39881" indent="-116299" algn="l" defTabSz="819281" rtl="0" eaLnBrk="1" latinLnBrk="0" hangingPunct="1">
        <a:lnSpc>
          <a:spcPct val="110000"/>
        </a:lnSpc>
        <a:spcBef>
          <a:spcPts val="20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53022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2663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2304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1944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9640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9281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8921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8562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8203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57843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67483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77124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81080"/>
            <a:ext cx="11582400" cy="554005"/>
          </a:xfrm>
          <a:prstGeom prst="rect">
            <a:avLst/>
          </a:prstGeom>
        </p:spPr>
        <p:txBody>
          <a:bodyPr vert="horz" lIns="0" tIns="40964" rIns="0" bIns="40964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03528"/>
            <a:ext cx="11582400" cy="5394960"/>
          </a:xfrm>
          <a:prstGeom prst="rect">
            <a:avLst/>
          </a:prstGeom>
        </p:spPr>
        <p:txBody>
          <a:bodyPr vert="horz" lIns="0" tIns="40964" rIns="0" bIns="40964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" y="6670227"/>
            <a:ext cx="10971053" cy="149086"/>
          </a:xfrm>
          <a:prstGeom prst="rect">
            <a:avLst/>
          </a:prstGeom>
        </p:spPr>
        <p:txBody>
          <a:bodyPr vert="horz" wrap="square" lIns="0" tIns="40964" rIns="0" bIns="0" rtlCol="0" anchor="b" anchorCtr="0">
            <a:spAutoFit/>
          </a:bodyPr>
          <a:lstStyle>
            <a:lvl1pPr algn="l">
              <a:lnSpc>
                <a:spcPts val="780"/>
              </a:lnSpc>
              <a:spcBef>
                <a:spcPts val="0"/>
              </a:spcBef>
              <a:defRPr sz="7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5853" y="6654839"/>
            <a:ext cx="611347" cy="164475"/>
          </a:xfrm>
          <a:prstGeom prst="rect">
            <a:avLst/>
          </a:prstGeom>
        </p:spPr>
        <p:txBody>
          <a:bodyPr vert="horz" wrap="square" lIns="0" tIns="40964" rIns="0" bIns="0" rtlCol="0" anchor="b">
            <a:spAutoFit/>
          </a:bodyPr>
          <a:lstStyle>
            <a:lvl1pPr algn="r">
              <a:defRPr sz="800">
                <a:solidFill>
                  <a:schemeClr val="accent5"/>
                </a:solidFill>
                <a:latin typeface="+mj-lt"/>
              </a:defRPr>
            </a:lvl1pPr>
          </a:lstStyle>
          <a:p>
            <a:fld id="{6E444623-58D8-4E3E-8C85-44C0CE42EE7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839787"/>
            <a:ext cx="12192000" cy="0"/>
          </a:xfrm>
          <a:prstGeom prst="line">
            <a:avLst/>
          </a:prstGeom>
          <a:ln w="9525">
            <a:solidFill>
              <a:srgbClr val="003E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/>
          <p:cNvGrpSpPr/>
          <p:nvPr userDrawn="1"/>
        </p:nvGrpSpPr>
        <p:grpSpPr>
          <a:xfrm>
            <a:off x="-838200" y="-4821"/>
            <a:ext cx="13858543" cy="6038173"/>
            <a:chOff x="-628650" y="-4821"/>
            <a:chExt cx="10393907" cy="6038173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-628650" y="15948"/>
              <a:ext cx="457200" cy="6017404"/>
              <a:chOff x="-628650" y="15948"/>
              <a:chExt cx="457200" cy="6017404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-628650" y="4315208"/>
                <a:ext cx="457200" cy="489780"/>
              </a:xfrm>
              <a:prstGeom prst="rect">
                <a:avLst/>
              </a:prstGeom>
              <a:solidFill>
                <a:srgbClr val="93C3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47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95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97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-628650" y="1244308"/>
                <a:ext cx="457200" cy="489780"/>
              </a:xfrm>
              <a:prstGeom prst="rect">
                <a:avLst/>
              </a:prstGeom>
              <a:solidFill>
                <a:srgbClr val="589F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88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59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65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-628650" y="1858488"/>
                <a:ext cx="457200" cy="489780"/>
              </a:xfrm>
              <a:prstGeom prst="rect">
                <a:avLst/>
              </a:prstGeom>
              <a:solidFill>
                <a:srgbClr val="88B4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36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8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83</a:t>
                </a: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-628650" y="3701028"/>
                <a:ext cx="457200" cy="489780"/>
              </a:xfrm>
              <a:prstGeom prst="rect">
                <a:avLst/>
              </a:prstGeom>
              <a:solidFill>
                <a:srgbClr val="A38FB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63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43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87</a:t>
                </a: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-628650" y="15948"/>
                <a:ext cx="457200" cy="489780"/>
              </a:xfrm>
              <a:prstGeom prst="rect">
                <a:avLst/>
              </a:prstGeom>
              <a:solidFill>
                <a:srgbClr val="004A8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74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36</a:t>
                </a: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-628650" y="4929388"/>
                <a:ext cx="457200" cy="489780"/>
              </a:xfrm>
              <a:prstGeom prst="rect">
                <a:avLst/>
              </a:prstGeom>
              <a:solidFill>
                <a:srgbClr val="B9D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85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21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53</a:t>
                </a: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-628650" y="630128"/>
                <a:ext cx="457200" cy="489780"/>
              </a:xfrm>
              <a:prstGeom prst="rect">
                <a:avLst/>
              </a:prstGeom>
              <a:solidFill>
                <a:srgbClr val="765C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18 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92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 B-150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-628650" y="5543572"/>
                <a:ext cx="457200" cy="489780"/>
              </a:xfrm>
              <a:prstGeom prst="rect">
                <a:avLst/>
              </a:prstGeom>
              <a:solidFill>
                <a:srgbClr val="DCDD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2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22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232</a:t>
                </a: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-628650" y="2472668"/>
                <a:ext cx="457200" cy="489780"/>
              </a:xfrm>
              <a:prstGeom prst="rect">
                <a:avLst/>
              </a:prstGeom>
              <a:solidFill>
                <a:srgbClr val="8C8D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4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4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52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-628650" y="3086848"/>
                <a:ext cx="457200" cy="489780"/>
              </a:xfrm>
              <a:prstGeom prst="rect">
                <a:avLst/>
              </a:prstGeom>
              <a:solidFill>
                <a:srgbClr val="78A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2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69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222</a:t>
                </a:r>
              </a:p>
            </p:txBody>
          </p:sp>
        </p:grpSp>
        <p:grpSp>
          <p:nvGrpSpPr>
            <p:cNvPr id="4" name="Group 3"/>
            <p:cNvGrpSpPr/>
            <p:nvPr userDrawn="1"/>
          </p:nvGrpSpPr>
          <p:grpSpPr>
            <a:xfrm>
              <a:off x="9308057" y="-4821"/>
              <a:ext cx="457200" cy="2516830"/>
              <a:chOff x="9308057" y="-4821"/>
              <a:chExt cx="457200" cy="2516830"/>
            </a:xfrm>
          </p:grpSpPr>
          <p:sp>
            <p:nvSpPr>
              <p:cNvPr id="25" name="Rectangle 24"/>
              <p:cNvSpPr/>
              <p:nvPr/>
            </p:nvSpPr>
            <p:spPr>
              <a:xfrm>
                <a:off x="9308057" y="2022229"/>
                <a:ext cx="457200" cy="48978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55 G-255 B-255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9308057" y="1346588"/>
                <a:ext cx="457200" cy="4897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0</a:t>
                </a: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9308057" y="-4821"/>
                <a:ext cx="457200" cy="489780"/>
              </a:xfrm>
              <a:prstGeom prst="rect">
                <a:avLst/>
              </a:prstGeom>
              <a:solidFill>
                <a:srgbClr val="0065B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0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79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9308057" y="670820"/>
                <a:ext cx="457200" cy="489907"/>
              </a:xfrm>
              <a:prstGeom prst="rect">
                <a:avLst/>
              </a:prstGeom>
              <a:solidFill>
                <a:srgbClr val="E9F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A88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33 G-247 B-25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3792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  <p:sldLayoutId id="2147483770" r:id="rId32"/>
    <p:sldLayoutId id="2147483771" r:id="rId33"/>
    <p:sldLayoutId id="2147483772" r:id="rId34"/>
    <p:sldLayoutId id="2147483773" r:id="rId35"/>
  </p:sldLayoutIdLst>
  <p:hf hdr="0" dt="0"/>
  <p:txStyles>
    <p:titleStyle>
      <a:lvl1pPr algn="l" defTabSz="819281" rtl="0" eaLnBrk="1" latinLnBrk="0" hangingPunct="1">
        <a:spcBef>
          <a:spcPct val="0"/>
        </a:spcBef>
        <a:buNone/>
        <a:defRPr sz="2000" kern="1200" cap="none" spc="0" baseline="0">
          <a:solidFill>
            <a:srgbClr val="003E74"/>
          </a:solidFill>
          <a:latin typeface="+mn-lt"/>
          <a:ea typeface="+mj-ea"/>
          <a:cs typeface="+mj-cs"/>
        </a:defRPr>
      </a:lvl1pPr>
    </p:titleStyle>
    <p:bodyStyle>
      <a:lvl1pPr marL="0" indent="0" algn="l" defTabSz="819281" rtl="0" eaLnBrk="1" latinLnBrk="0" hangingPunct="1">
        <a:lnSpc>
          <a:spcPct val="110000"/>
        </a:lnSpc>
        <a:spcBef>
          <a:spcPts val="1600"/>
        </a:spcBef>
        <a:buClr>
          <a:schemeClr val="accent3"/>
        </a:buClr>
        <a:buFont typeface="Arial" panose="020B0604020202020204" pitchFamily="34" charset="0"/>
        <a:buNone/>
        <a:defRPr sz="1600" kern="1200">
          <a:solidFill>
            <a:schemeClr val="accent3"/>
          </a:solidFill>
          <a:latin typeface="+mj-lt"/>
          <a:ea typeface="+mn-ea"/>
          <a:cs typeface="+mn-cs"/>
        </a:defRPr>
      </a:lvl1pPr>
      <a:lvl2pPr marL="153642" indent="-153642" algn="l" defTabSz="819281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07284" indent="-153642" algn="l" defTabSz="819281" rtl="0" eaLnBrk="1" latinLnBrk="0" hangingPunct="1">
        <a:lnSpc>
          <a:spcPct val="110000"/>
        </a:lnSpc>
        <a:spcBef>
          <a:spcPts val="200"/>
        </a:spcBef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23583" indent="-116299" algn="l" defTabSz="819281" rtl="0" eaLnBrk="1" latinLnBrk="0" hangingPunct="1">
        <a:lnSpc>
          <a:spcPct val="110000"/>
        </a:lnSpc>
        <a:spcBef>
          <a:spcPts val="20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39881" indent="-116299" algn="l" defTabSz="819281" rtl="0" eaLnBrk="1" latinLnBrk="0" hangingPunct="1">
        <a:lnSpc>
          <a:spcPct val="110000"/>
        </a:lnSpc>
        <a:spcBef>
          <a:spcPts val="20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53022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2663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2304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1944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9640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9281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8921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8562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8203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57843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67483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77124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81084"/>
            <a:ext cx="11582400" cy="554005"/>
          </a:xfrm>
          <a:prstGeom prst="rect">
            <a:avLst/>
          </a:prstGeom>
        </p:spPr>
        <p:txBody>
          <a:bodyPr vert="horz" lIns="0" tIns="40964" rIns="0" bIns="40964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03528"/>
            <a:ext cx="11582400" cy="5394960"/>
          </a:xfrm>
          <a:prstGeom prst="rect">
            <a:avLst/>
          </a:prstGeom>
        </p:spPr>
        <p:txBody>
          <a:bodyPr vert="horz" lIns="0" tIns="40964" rIns="0" bIns="40964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" y="6701005"/>
            <a:ext cx="10971053" cy="118308"/>
          </a:xfrm>
          <a:prstGeom prst="rect">
            <a:avLst/>
          </a:prstGeom>
        </p:spPr>
        <p:txBody>
          <a:bodyPr vert="horz" wrap="square" lIns="0" tIns="40964" rIns="0" bIns="0" rtlCol="0" anchor="b" anchorCtr="0">
            <a:spAutoFit/>
          </a:bodyPr>
          <a:lstStyle>
            <a:lvl1pPr algn="l">
              <a:lnSpc>
                <a:spcPts val="585"/>
              </a:lnSpc>
              <a:spcBef>
                <a:spcPts val="0"/>
              </a:spcBef>
              <a:defRPr sz="525">
                <a:solidFill>
                  <a:schemeClr val="accent5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5853" y="6685621"/>
            <a:ext cx="611347" cy="133697"/>
          </a:xfrm>
          <a:prstGeom prst="rect">
            <a:avLst/>
          </a:prstGeom>
        </p:spPr>
        <p:txBody>
          <a:bodyPr vert="horz" wrap="square" lIns="0" tIns="40964" rIns="0" bIns="0" rtlCol="0" anchor="b">
            <a:spAutoFit/>
          </a:bodyPr>
          <a:lstStyle>
            <a:lvl1pPr algn="r">
              <a:defRPr sz="600">
                <a:solidFill>
                  <a:schemeClr val="accent5"/>
                </a:solidFill>
                <a:latin typeface="+mj-lt"/>
              </a:defRPr>
            </a:lvl1pPr>
          </a:lstStyle>
          <a:p>
            <a:fld id="{6E444623-58D8-4E3E-8C85-44C0CE42EE7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839787"/>
            <a:ext cx="12192000" cy="0"/>
          </a:xfrm>
          <a:prstGeom prst="line">
            <a:avLst/>
          </a:prstGeom>
          <a:ln w="9525">
            <a:solidFill>
              <a:srgbClr val="003E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/>
          <p:cNvGrpSpPr/>
          <p:nvPr userDrawn="1"/>
        </p:nvGrpSpPr>
        <p:grpSpPr>
          <a:xfrm>
            <a:off x="-838200" y="-4821"/>
            <a:ext cx="13858543" cy="6038173"/>
            <a:chOff x="-628650" y="-4821"/>
            <a:chExt cx="10393907" cy="6038173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-628650" y="15948"/>
              <a:ext cx="457200" cy="6017404"/>
              <a:chOff x="-628650" y="15948"/>
              <a:chExt cx="457200" cy="6017404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-628650" y="4315208"/>
                <a:ext cx="457200" cy="489780"/>
              </a:xfrm>
              <a:prstGeom prst="rect">
                <a:avLst/>
              </a:prstGeom>
              <a:solidFill>
                <a:srgbClr val="93C3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47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95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97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-628650" y="1244308"/>
                <a:ext cx="457200" cy="489780"/>
              </a:xfrm>
              <a:prstGeom prst="rect">
                <a:avLst/>
              </a:prstGeom>
              <a:solidFill>
                <a:srgbClr val="589F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88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59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65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-628650" y="1858488"/>
                <a:ext cx="457200" cy="489780"/>
              </a:xfrm>
              <a:prstGeom prst="rect">
                <a:avLst/>
              </a:prstGeom>
              <a:solidFill>
                <a:srgbClr val="88B4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36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80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83</a:t>
                </a: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-628650" y="3701028"/>
                <a:ext cx="457200" cy="489780"/>
              </a:xfrm>
              <a:prstGeom prst="rect">
                <a:avLst/>
              </a:prstGeom>
              <a:solidFill>
                <a:srgbClr val="A38FB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63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43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87</a:t>
                </a: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-628650" y="15948"/>
                <a:ext cx="457200" cy="489780"/>
              </a:xfrm>
              <a:prstGeom prst="rect">
                <a:avLst/>
              </a:prstGeom>
              <a:solidFill>
                <a:srgbClr val="004A8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74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36</a:t>
                </a: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-628650" y="4929388"/>
                <a:ext cx="457200" cy="489780"/>
              </a:xfrm>
              <a:prstGeom prst="rect">
                <a:avLst/>
              </a:prstGeom>
              <a:solidFill>
                <a:srgbClr val="B9D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85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211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53</a:t>
                </a: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-628650" y="630128"/>
                <a:ext cx="457200" cy="489780"/>
              </a:xfrm>
              <a:prstGeom prst="rect">
                <a:avLst/>
              </a:prstGeom>
              <a:solidFill>
                <a:srgbClr val="765C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18 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92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 B-150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-628650" y="5543572"/>
                <a:ext cx="457200" cy="489780"/>
              </a:xfrm>
              <a:prstGeom prst="rect">
                <a:avLst/>
              </a:prstGeom>
              <a:solidFill>
                <a:srgbClr val="DCDD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20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221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232</a:t>
                </a: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-628650" y="2472668"/>
                <a:ext cx="457200" cy="489780"/>
              </a:xfrm>
              <a:prstGeom prst="rect">
                <a:avLst/>
              </a:prstGeom>
              <a:solidFill>
                <a:srgbClr val="8C8D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40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41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52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-628650" y="3086848"/>
                <a:ext cx="457200" cy="489780"/>
              </a:xfrm>
              <a:prstGeom prst="rect">
                <a:avLst/>
              </a:prstGeom>
              <a:solidFill>
                <a:srgbClr val="78A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20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69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222</a:t>
                </a:r>
              </a:p>
            </p:txBody>
          </p:sp>
        </p:grpSp>
        <p:grpSp>
          <p:nvGrpSpPr>
            <p:cNvPr id="4" name="Group 3"/>
            <p:cNvGrpSpPr/>
            <p:nvPr userDrawn="1"/>
          </p:nvGrpSpPr>
          <p:grpSpPr>
            <a:xfrm>
              <a:off x="9308057" y="-4821"/>
              <a:ext cx="457200" cy="2516830"/>
              <a:chOff x="9308057" y="-4821"/>
              <a:chExt cx="457200" cy="2516830"/>
            </a:xfrm>
          </p:grpSpPr>
          <p:sp>
            <p:nvSpPr>
              <p:cNvPr id="25" name="Rectangle 24"/>
              <p:cNvSpPr/>
              <p:nvPr/>
            </p:nvSpPr>
            <p:spPr>
              <a:xfrm>
                <a:off x="9308057" y="2022229"/>
                <a:ext cx="457200" cy="48978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55 G-255 B-255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9308057" y="1346588"/>
                <a:ext cx="457200" cy="4897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0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0</a:t>
                </a: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9308057" y="-4821"/>
                <a:ext cx="457200" cy="489780"/>
              </a:xfrm>
              <a:prstGeom prst="rect">
                <a:avLst/>
              </a:prstGeom>
              <a:solidFill>
                <a:srgbClr val="0065B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01</a:t>
                </a:r>
              </a:p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79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9308057" y="670820"/>
                <a:ext cx="457200" cy="489907"/>
              </a:xfrm>
              <a:prstGeom prst="rect">
                <a:avLst/>
              </a:prstGeom>
              <a:solidFill>
                <a:srgbClr val="E9F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A88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33 G-247 B-25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46417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  <p:sldLayoutId id="2147483800" r:id="rId25"/>
    <p:sldLayoutId id="2147483801" r:id="rId26"/>
    <p:sldLayoutId id="2147483802" r:id="rId27"/>
    <p:sldLayoutId id="2147483803" r:id="rId28"/>
    <p:sldLayoutId id="2147483804" r:id="rId29"/>
    <p:sldLayoutId id="2147483805" r:id="rId30"/>
    <p:sldLayoutId id="2147483806" r:id="rId31"/>
    <p:sldLayoutId id="2147483807" r:id="rId32"/>
    <p:sldLayoutId id="2147483808" r:id="rId33"/>
    <p:sldLayoutId id="2147483809" r:id="rId34"/>
    <p:sldLayoutId id="2147483810" r:id="rId35"/>
  </p:sldLayoutIdLst>
  <p:hf hdr="0" dt="0"/>
  <p:txStyles>
    <p:titleStyle>
      <a:lvl1pPr algn="l" defTabSz="614461" rtl="0" eaLnBrk="1" latinLnBrk="0" hangingPunct="1">
        <a:spcBef>
          <a:spcPct val="0"/>
        </a:spcBef>
        <a:buNone/>
        <a:defRPr sz="1500" kern="1200" cap="none" spc="0" baseline="0">
          <a:solidFill>
            <a:srgbClr val="003E74"/>
          </a:solidFill>
          <a:latin typeface="+mn-lt"/>
          <a:ea typeface="+mj-ea"/>
          <a:cs typeface="+mj-cs"/>
        </a:defRPr>
      </a:lvl1pPr>
    </p:titleStyle>
    <p:bodyStyle>
      <a:lvl1pPr marL="0" indent="0" algn="l" defTabSz="614461" rtl="0" eaLnBrk="1" latinLnBrk="0" hangingPunct="1">
        <a:lnSpc>
          <a:spcPct val="110000"/>
        </a:lnSpc>
        <a:spcBef>
          <a:spcPts val="1200"/>
        </a:spcBef>
        <a:buClr>
          <a:schemeClr val="accent3"/>
        </a:buClr>
        <a:buFont typeface="Arial" panose="020B0604020202020204" pitchFamily="34" charset="0"/>
        <a:buNone/>
        <a:defRPr sz="1200" kern="1200">
          <a:solidFill>
            <a:schemeClr val="accent3"/>
          </a:solidFill>
          <a:latin typeface="+mj-lt"/>
          <a:ea typeface="+mn-ea"/>
          <a:cs typeface="+mn-cs"/>
        </a:defRPr>
      </a:lvl1pPr>
      <a:lvl2pPr marL="115232" indent="-115232" algn="l" defTabSz="614461" rtl="0" eaLnBrk="1" latinLnBrk="0" hangingPunct="1">
        <a:lnSpc>
          <a:spcPct val="110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230463" indent="-115232" algn="l" defTabSz="614461" rtl="0" eaLnBrk="1" latinLnBrk="0" hangingPunct="1">
        <a:lnSpc>
          <a:spcPct val="110000"/>
        </a:lnSpc>
        <a:spcBef>
          <a:spcPts val="150"/>
        </a:spcBef>
        <a:buClr>
          <a:schemeClr val="accent3"/>
        </a:buClr>
        <a:buFont typeface="Symbol" panose="05050102010706020507" pitchFamily="18" charset="2"/>
        <a:buChar char="-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317687" indent="-87224" algn="l" defTabSz="614461" rtl="0" eaLnBrk="1" latinLnBrk="0" hangingPunct="1">
        <a:lnSpc>
          <a:spcPct val="110000"/>
        </a:lnSpc>
        <a:spcBef>
          <a:spcPts val="15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404911" indent="-87224" algn="l" defTabSz="614461" rtl="0" eaLnBrk="1" latinLnBrk="0" hangingPunct="1">
        <a:lnSpc>
          <a:spcPct val="110000"/>
        </a:lnSpc>
        <a:spcBef>
          <a:spcPts val="150"/>
        </a:spcBef>
        <a:buClr>
          <a:schemeClr val="accent3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689767" indent="-153615" algn="l" defTabSz="614461" rtl="0" eaLnBrk="1" latinLnBrk="0" hangingPunct="1">
        <a:spcBef>
          <a:spcPct val="2000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1996997" indent="-153615" algn="l" defTabSz="614461" rtl="0" eaLnBrk="1" latinLnBrk="0" hangingPunct="1">
        <a:spcBef>
          <a:spcPct val="2000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04228" indent="-153615" algn="l" defTabSz="614461" rtl="0" eaLnBrk="1" latinLnBrk="0" hangingPunct="1">
        <a:spcBef>
          <a:spcPct val="2000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611458" indent="-153615" algn="l" defTabSz="614461" rtl="0" eaLnBrk="1" latinLnBrk="0" hangingPunct="1">
        <a:spcBef>
          <a:spcPct val="2000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446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7230" algn="l" defTabSz="61446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14461" algn="l" defTabSz="61446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21691" algn="l" defTabSz="61446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28922" algn="l" defTabSz="61446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36152" algn="l" defTabSz="61446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43382" algn="l" defTabSz="61446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50612" algn="l" defTabSz="61446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57843" algn="l" defTabSz="61446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81080"/>
            <a:ext cx="11582400" cy="554005"/>
          </a:xfrm>
          <a:prstGeom prst="rect">
            <a:avLst/>
          </a:prstGeom>
        </p:spPr>
        <p:txBody>
          <a:bodyPr vert="horz" lIns="0" tIns="40964" rIns="0" bIns="40964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03528"/>
            <a:ext cx="11582400" cy="5394960"/>
          </a:xfrm>
          <a:prstGeom prst="rect">
            <a:avLst/>
          </a:prstGeom>
        </p:spPr>
        <p:txBody>
          <a:bodyPr vert="horz" lIns="0" tIns="40964" rIns="0" bIns="40964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" y="6670227"/>
            <a:ext cx="10971053" cy="149086"/>
          </a:xfrm>
          <a:prstGeom prst="rect">
            <a:avLst/>
          </a:prstGeom>
        </p:spPr>
        <p:txBody>
          <a:bodyPr vert="horz" wrap="square" lIns="0" tIns="40964" rIns="0" bIns="0" rtlCol="0" anchor="b" anchorCtr="0">
            <a:spAutoFit/>
          </a:bodyPr>
          <a:lstStyle>
            <a:lvl1pPr algn="l">
              <a:lnSpc>
                <a:spcPts val="780"/>
              </a:lnSpc>
              <a:spcBef>
                <a:spcPts val="0"/>
              </a:spcBef>
              <a:defRPr sz="7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5853" y="6654839"/>
            <a:ext cx="611347" cy="164475"/>
          </a:xfrm>
          <a:prstGeom prst="rect">
            <a:avLst/>
          </a:prstGeom>
        </p:spPr>
        <p:txBody>
          <a:bodyPr vert="horz" wrap="square" lIns="0" tIns="40964" rIns="0" bIns="0" rtlCol="0" anchor="b">
            <a:spAutoFit/>
          </a:bodyPr>
          <a:lstStyle>
            <a:lvl1pPr algn="r">
              <a:defRPr sz="800">
                <a:solidFill>
                  <a:schemeClr val="accent5"/>
                </a:solidFill>
                <a:latin typeface="+mj-lt"/>
              </a:defRPr>
            </a:lvl1pPr>
          </a:lstStyle>
          <a:p>
            <a:fld id="{6E444623-58D8-4E3E-8C85-44C0CE42EE7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839787"/>
            <a:ext cx="12192000" cy="0"/>
          </a:xfrm>
          <a:prstGeom prst="line">
            <a:avLst/>
          </a:prstGeom>
          <a:ln w="9525">
            <a:solidFill>
              <a:srgbClr val="003E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radeSecret"/>
          <p:cNvSpPr txBox="1"/>
          <p:nvPr userDrawn="1">
            <p:custDataLst>
              <p:tags r:id="rId38"/>
            </p:custDataLst>
          </p:nvPr>
        </p:nvSpPr>
        <p:spPr>
          <a:xfrm>
            <a:off x="8835793" y="25400"/>
            <a:ext cx="3145412" cy="19236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r"/>
            <a:r>
              <a:rPr lang="en-US" sz="650" spc="300" dirty="0">
                <a:solidFill>
                  <a:schemeClr val="accent5"/>
                </a:solidFill>
                <a:latin typeface="+mj-lt"/>
              </a:rPr>
              <a:t>TRADE SECRET &amp; STRICTLY CONFIDENTIAL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-838200" y="-4821"/>
            <a:ext cx="13858543" cy="6038173"/>
            <a:chOff x="-628650" y="-4821"/>
            <a:chExt cx="10393907" cy="6038173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-628650" y="15948"/>
              <a:ext cx="457200" cy="6017404"/>
              <a:chOff x="-628650" y="15948"/>
              <a:chExt cx="457200" cy="6017404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-628650" y="4315208"/>
                <a:ext cx="457200" cy="489780"/>
              </a:xfrm>
              <a:prstGeom prst="rect">
                <a:avLst/>
              </a:prstGeom>
              <a:solidFill>
                <a:srgbClr val="93C3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47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95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97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-628650" y="1244308"/>
                <a:ext cx="457200" cy="489780"/>
              </a:xfrm>
              <a:prstGeom prst="rect">
                <a:avLst/>
              </a:prstGeom>
              <a:solidFill>
                <a:srgbClr val="589F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88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59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65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-628650" y="1858488"/>
                <a:ext cx="457200" cy="489780"/>
              </a:xfrm>
              <a:prstGeom prst="rect">
                <a:avLst/>
              </a:prstGeom>
              <a:solidFill>
                <a:srgbClr val="88B4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36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8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83</a:t>
                </a: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-628650" y="3701028"/>
                <a:ext cx="457200" cy="489780"/>
              </a:xfrm>
              <a:prstGeom prst="rect">
                <a:avLst/>
              </a:prstGeom>
              <a:solidFill>
                <a:srgbClr val="A38FB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63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43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87</a:t>
                </a: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-628650" y="15948"/>
                <a:ext cx="457200" cy="489780"/>
              </a:xfrm>
              <a:prstGeom prst="rect">
                <a:avLst/>
              </a:prstGeom>
              <a:solidFill>
                <a:srgbClr val="004A8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74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36</a:t>
                </a: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-628650" y="4929388"/>
                <a:ext cx="457200" cy="489780"/>
              </a:xfrm>
              <a:prstGeom prst="rect">
                <a:avLst/>
              </a:prstGeom>
              <a:solidFill>
                <a:srgbClr val="B9D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85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21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53</a:t>
                </a: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-628650" y="630128"/>
                <a:ext cx="457200" cy="489780"/>
              </a:xfrm>
              <a:prstGeom prst="rect">
                <a:avLst/>
              </a:prstGeom>
              <a:solidFill>
                <a:srgbClr val="765C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18 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92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 B-150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-628650" y="5543572"/>
                <a:ext cx="457200" cy="489780"/>
              </a:xfrm>
              <a:prstGeom prst="rect">
                <a:avLst/>
              </a:prstGeom>
              <a:solidFill>
                <a:srgbClr val="DCDD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2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22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232</a:t>
                </a: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-628650" y="2472668"/>
                <a:ext cx="457200" cy="489780"/>
              </a:xfrm>
              <a:prstGeom prst="rect">
                <a:avLst/>
              </a:prstGeom>
              <a:solidFill>
                <a:srgbClr val="8C8D9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4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4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52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-628650" y="3086848"/>
                <a:ext cx="457200" cy="489780"/>
              </a:xfrm>
              <a:prstGeom prst="rect">
                <a:avLst/>
              </a:prstGeom>
              <a:solidFill>
                <a:srgbClr val="78A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12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69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222</a:t>
                </a:r>
              </a:p>
            </p:txBody>
          </p:sp>
        </p:grpSp>
        <p:grpSp>
          <p:nvGrpSpPr>
            <p:cNvPr id="4" name="Group 3"/>
            <p:cNvGrpSpPr/>
            <p:nvPr userDrawn="1"/>
          </p:nvGrpSpPr>
          <p:grpSpPr>
            <a:xfrm>
              <a:off x="9308057" y="-4821"/>
              <a:ext cx="457200" cy="2516830"/>
              <a:chOff x="9308057" y="-4821"/>
              <a:chExt cx="457200" cy="2516830"/>
            </a:xfrm>
          </p:grpSpPr>
          <p:sp>
            <p:nvSpPr>
              <p:cNvPr id="25" name="Rectangle 24"/>
              <p:cNvSpPr/>
              <p:nvPr/>
            </p:nvSpPr>
            <p:spPr>
              <a:xfrm>
                <a:off x="9308057" y="2022229"/>
                <a:ext cx="457200" cy="48978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55 G-255 B-255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9308057" y="1346588"/>
                <a:ext cx="457200" cy="48978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0</a:t>
                </a: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9308057" y="-4821"/>
                <a:ext cx="457200" cy="489780"/>
              </a:xfrm>
              <a:prstGeom prst="rect">
                <a:avLst/>
              </a:prstGeom>
              <a:solidFill>
                <a:srgbClr val="0065B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0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G-101</a:t>
                </a:r>
              </a:p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B-179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9308057" y="670820"/>
                <a:ext cx="457200" cy="489907"/>
              </a:xfrm>
              <a:prstGeom prst="rect">
                <a:avLst/>
              </a:prstGeom>
              <a:solidFill>
                <a:srgbClr val="E9F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A88"/>
                    </a:solidFill>
                    <a:effectLst/>
                    <a:uLnTx/>
                    <a:uFillTx/>
                    <a:latin typeface="Segoe UI Semibold" pitchFamily="34" charset="0"/>
                    <a:ea typeface="+mn-ea"/>
                    <a:cs typeface="+mn-cs"/>
                  </a:rPr>
                  <a:t>R-233 G-247 B-25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7569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  <p:sldLayoutId id="2147483837" r:id="rId23"/>
    <p:sldLayoutId id="2147483838" r:id="rId24"/>
    <p:sldLayoutId id="2147483839" r:id="rId25"/>
    <p:sldLayoutId id="2147483840" r:id="rId26"/>
    <p:sldLayoutId id="2147483841" r:id="rId27"/>
    <p:sldLayoutId id="2147483842" r:id="rId28"/>
    <p:sldLayoutId id="2147483843" r:id="rId29"/>
    <p:sldLayoutId id="2147483844" r:id="rId30"/>
    <p:sldLayoutId id="2147483845" r:id="rId31"/>
    <p:sldLayoutId id="2147483846" r:id="rId32"/>
    <p:sldLayoutId id="2147483847" r:id="rId33"/>
    <p:sldLayoutId id="2147483848" r:id="rId34"/>
    <p:sldLayoutId id="2147483849" r:id="rId35"/>
    <p:sldLayoutId id="2147483850" r:id="rId36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  <p:hf hdr="0" ftr="0" dt="0"/>
  <p:txStyles>
    <p:titleStyle>
      <a:lvl1pPr algn="l" defTabSz="819281" rtl="0" eaLnBrk="1" latinLnBrk="0" hangingPunct="1">
        <a:spcBef>
          <a:spcPct val="0"/>
        </a:spcBef>
        <a:buNone/>
        <a:defRPr sz="2000" kern="1200" cap="none" spc="0" baseline="0">
          <a:solidFill>
            <a:srgbClr val="003E74"/>
          </a:solidFill>
          <a:latin typeface="+mn-lt"/>
          <a:ea typeface="+mj-ea"/>
          <a:cs typeface="+mj-cs"/>
        </a:defRPr>
      </a:lvl1pPr>
    </p:titleStyle>
    <p:bodyStyle>
      <a:lvl1pPr marL="0" indent="0" algn="l" defTabSz="819281" rtl="0" eaLnBrk="1" latinLnBrk="0" hangingPunct="1">
        <a:lnSpc>
          <a:spcPct val="110000"/>
        </a:lnSpc>
        <a:spcBef>
          <a:spcPts val="1600"/>
        </a:spcBef>
        <a:buClr>
          <a:schemeClr val="accent3"/>
        </a:buClr>
        <a:buFont typeface="Arial" panose="020B0604020202020204" pitchFamily="34" charset="0"/>
        <a:buNone/>
        <a:defRPr sz="1600" kern="1200">
          <a:solidFill>
            <a:schemeClr val="accent3"/>
          </a:solidFill>
          <a:latin typeface="+mj-lt"/>
          <a:ea typeface="+mn-ea"/>
          <a:cs typeface="+mn-cs"/>
        </a:defRPr>
      </a:lvl1pPr>
      <a:lvl2pPr marL="153642" indent="-153642" algn="l" defTabSz="819281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07284" indent="-153642" algn="l" defTabSz="819281" rtl="0" eaLnBrk="1" latinLnBrk="0" hangingPunct="1">
        <a:lnSpc>
          <a:spcPct val="110000"/>
        </a:lnSpc>
        <a:spcBef>
          <a:spcPts val="200"/>
        </a:spcBef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23583" indent="-116299" algn="l" defTabSz="819281" rtl="0" eaLnBrk="1" latinLnBrk="0" hangingPunct="1">
        <a:lnSpc>
          <a:spcPct val="110000"/>
        </a:lnSpc>
        <a:spcBef>
          <a:spcPts val="20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39881" indent="-116299" algn="l" defTabSz="819281" rtl="0" eaLnBrk="1" latinLnBrk="0" hangingPunct="1">
        <a:lnSpc>
          <a:spcPct val="110000"/>
        </a:lnSpc>
        <a:spcBef>
          <a:spcPts val="20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53022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2663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2304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1944" indent="-204820" algn="l" defTabSz="81928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9640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9281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8921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8562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8203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57843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67483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77124" algn="l" defTabSz="8192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37.pn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38.emf"/><Relationship Id="rId9" Type="http://schemas.microsoft.com/office/2007/relationships/diagramDrawing" Target="../diagrams/drawing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lanningpoker.com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7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manifesto.background v2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0" y="1295400"/>
            <a:ext cx="91440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02" name="Rectangle 2"/>
          <p:cNvSpPr>
            <a:spLocks noGrp="1" noChangeArrowheads="1"/>
          </p:cNvSpPr>
          <p:nvPr>
            <p:ph type="title"/>
          </p:nvPr>
        </p:nvSpPr>
        <p:spPr>
          <a:xfrm>
            <a:off x="453792" y="162744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he Agile Manifesto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378592" y="6178473"/>
            <a:ext cx="20297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latin typeface="+mj-lt"/>
              </a:rPr>
              <a:t>Source: https://agilemanifesto.org/</a:t>
            </a:r>
          </a:p>
        </p:txBody>
      </p:sp>
      <p:sp>
        <p:nvSpPr>
          <p:cNvPr id="7" name="Rectangle 6"/>
          <p:cNvSpPr/>
          <p:nvPr/>
        </p:nvSpPr>
        <p:spPr>
          <a:xfrm>
            <a:off x="2705100" y="2222480"/>
            <a:ext cx="67818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We are uncovering better ways of developing</a:t>
            </a:r>
            <a:br>
              <a:rPr lang="en-US" dirty="0"/>
            </a:br>
            <a:r>
              <a:rPr lang="en-US" i="1" dirty="0"/>
              <a:t>product</a:t>
            </a:r>
            <a:r>
              <a:rPr lang="en-US" dirty="0"/>
              <a:t> by doing it and helping others do it.</a:t>
            </a:r>
            <a:br>
              <a:rPr lang="en-US" dirty="0"/>
            </a:br>
            <a:r>
              <a:rPr lang="en-US" dirty="0"/>
              <a:t>Through this work we have come to value:</a:t>
            </a:r>
            <a:br>
              <a:rPr lang="en-US" dirty="0"/>
            </a:br>
            <a:endParaRPr lang="en-US" dirty="0"/>
          </a:p>
          <a:p>
            <a:pPr algn="ctr"/>
            <a:r>
              <a:rPr lang="en-US" sz="2000" b="1" dirty="0"/>
              <a:t>Individuals and interactions </a:t>
            </a:r>
            <a:r>
              <a:rPr lang="en-US" i="1" dirty="0"/>
              <a:t>over</a:t>
            </a:r>
            <a:r>
              <a:rPr lang="en-US" dirty="0"/>
              <a:t> processes and tools</a:t>
            </a:r>
            <a:br>
              <a:rPr lang="en-US" sz="2000" dirty="0"/>
            </a:br>
            <a:r>
              <a:rPr lang="en-US" sz="2000" b="1" dirty="0"/>
              <a:t>Working </a:t>
            </a:r>
            <a:r>
              <a:rPr lang="en-US" sz="2000" b="1" i="1" dirty="0"/>
              <a:t>product</a:t>
            </a:r>
            <a:r>
              <a:rPr lang="en-US" sz="2000" dirty="0"/>
              <a:t> </a:t>
            </a:r>
            <a:r>
              <a:rPr lang="en-US" i="1" dirty="0"/>
              <a:t>over</a:t>
            </a:r>
            <a:r>
              <a:rPr lang="en-US" dirty="0"/>
              <a:t> comprehensive documentation</a:t>
            </a:r>
            <a:br>
              <a:rPr lang="en-US" sz="2000" dirty="0"/>
            </a:br>
            <a:r>
              <a:rPr lang="en-US" sz="2000" b="1" dirty="0"/>
              <a:t>Customer collaboration </a:t>
            </a:r>
            <a:r>
              <a:rPr lang="en-US" i="1" dirty="0"/>
              <a:t>over</a:t>
            </a:r>
            <a:r>
              <a:rPr lang="en-US" dirty="0"/>
              <a:t> contract negotiation</a:t>
            </a:r>
            <a:br>
              <a:rPr lang="en-US" sz="2000" dirty="0"/>
            </a:br>
            <a:r>
              <a:rPr lang="en-US" sz="2000" b="1" dirty="0"/>
              <a:t>Responding to change</a:t>
            </a:r>
            <a:r>
              <a:rPr lang="en-US" sz="2000" dirty="0"/>
              <a:t> </a:t>
            </a:r>
            <a:r>
              <a:rPr lang="en-US" i="1" dirty="0"/>
              <a:t>over</a:t>
            </a:r>
            <a:r>
              <a:rPr lang="en-US" dirty="0"/>
              <a:t> following a plan</a:t>
            </a:r>
            <a:br>
              <a:rPr lang="en-US" sz="2000" dirty="0"/>
            </a:br>
            <a:endParaRPr lang="en-US" sz="2000" dirty="0"/>
          </a:p>
          <a:p>
            <a:pPr algn="ctr"/>
            <a:r>
              <a:rPr lang="en-US" sz="1600" dirty="0"/>
              <a:t>That is, while there is value in the items on</a:t>
            </a:r>
            <a:br>
              <a:rPr lang="en-US" sz="1600" dirty="0"/>
            </a:br>
            <a:r>
              <a:rPr lang="en-US" sz="1600" dirty="0"/>
              <a:t>the right, we value the items on the left more.</a:t>
            </a:r>
            <a:endParaRPr lang="en-US" sz="2000" dirty="0"/>
          </a:p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681405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EE418D-3016-4903-8200-7C9D0317C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ded Role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1CF6741-C477-496C-8388-A36DF5F2889A}"/>
              </a:ext>
            </a:extLst>
          </p:cNvPr>
          <p:cNvSpPr/>
          <p:nvPr/>
        </p:nvSpPr>
        <p:spPr>
          <a:xfrm>
            <a:off x="5530956" y="4845136"/>
            <a:ext cx="1143000" cy="1097280"/>
          </a:xfrm>
          <a:prstGeom prst="ellipse">
            <a:avLst/>
          </a:prstGeom>
          <a:solidFill>
            <a:schemeClr val="accent3">
              <a:lumMod val="60000"/>
              <a:lumOff val="40000"/>
              <a:alpha val="68000"/>
            </a:schemeClr>
          </a:solidFill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8BAC40-594A-4419-BAE8-7C1ECD5FC967}"/>
              </a:ext>
            </a:extLst>
          </p:cNvPr>
          <p:cNvSpPr txBox="1"/>
          <p:nvPr/>
        </p:nvSpPr>
        <p:spPr>
          <a:xfrm>
            <a:off x="6759131" y="3668337"/>
            <a:ext cx="1143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Build the thing righ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0F1315-BC52-4E09-A397-A1C578B1B5EB}"/>
              </a:ext>
            </a:extLst>
          </p:cNvPr>
          <p:cNvSpPr txBox="1"/>
          <p:nvPr/>
        </p:nvSpPr>
        <p:spPr>
          <a:xfrm>
            <a:off x="5530956" y="5997668"/>
            <a:ext cx="1143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Build it fas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8B31F96-CE86-4BCE-A6FF-85A21B75424C}"/>
              </a:ext>
            </a:extLst>
          </p:cNvPr>
          <p:cNvSpPr/>
          <p:nvPr/>
        </p:nvSpPr>
        <p:spPr>
          <a:xfrm>
            <a:off x="6071977" y="4870650"/>
            <a:ext cx="60959" cy="762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656778-D082-44CC-B077-9302420CB3DA}"/>
              </a:ext>
            </a:extLst>
          </p:cNvPr>
          <p:cNvSpPr txBox="1"/>
          <p:nvPr/>
        </p:nvSpPr>
        <p:spPr>
          <a:xfrm>
            <a:off x="2748238" y="3244334"/>
            <a:ext cx="6848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Idea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D0FC874-43D2-46B9-9765-1261C6472EED}"/>
              </a:ext>
            </a:extLst>
          </p:cNvPr>
          <p:cNvSpPr txBox="1"/>
          <p:nvPr/>
        </p:nvSpPr>
        <p:spPr>
          <a:xfrm>
            <a:off x="8661244" y="3244334"/>
            <a:ext cx="721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Valu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CEC4839-0BBC-4B65-8AB9-3A6EEF1A95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274" y="4257061"/>
            <a:ext cx="1627468" cy="174060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5538EFB-5E6C-42CA-877D-09979A9DCA02}"/>
              </a:ext>
            </a:extLst>
          </p:cNvPr>
          <p:cNvSpPr txBox="1"/>
          <p:nvPr/>
        </p:nvSpPr>
        <p:spPr>
          <a:xfrm>
            <a:off x="2232773" y="5826309"/>
            <a:ext cx="12330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Leadership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210A9F4-FBA6-41F6-8E0C-27022E90106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5081" y="4360338"/>
            <a:ext cx="958782" cy="15340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5407D1E-6EA6-425C-B2A2-93A89C9198DE}"/>
              </a:ext>
            </a:extLst>
          </p:cNvPr>
          <p:cNvSpPr txBox="1"/>
          <p:nvPr/>
        </p:nvSpPr>
        <p:spPr>
          <a:xfrm>
            <a:off x="8328466" y="5826309"/>
            <a:ext cx="19768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Program Manager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BAA0E8B-43F6-4B50-920C-3A87097C5CC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7914" y="1477235"/>
            <a:ext cx="1305455" cy="174060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8E7342B-7E60-4FAE-BD1A-3201D4AF38C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001" y="1491814"/>
            <a:ext cx="1047131" cy="175252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DF1F2C6C-F921-44C0-B782-416C468835EB}"/>
              </a:ext>
            </a:extLst>
          </p:cNvPr>
          <p:cNvSpPr txBox="1"/>
          <p:nvPr/>
        </p:nvSpPr>
        <p:spPr>
          <a:xfrm>
            <a:off x="5409243" y="3059668"/>
            <a:ext cx="1625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u="sng" dirty="0">
                <a:solidFill>
                  <a:schemeClr val="tx2">
                    <a:lumMod val="75000"/>
                  </a:schemeClr>
                </a:solidFill>
              </a:rPr>
              <a:t>Collaboration</a:t>
            </a:r>
          </a:p>
        </p:txBody>
      </p:sp>
      <p:sp>
        <p:nvSpPr>
          <p:cNvPr id="27" name="Arrow: Curved Left 26">
            <a:extLst>
              <a:ext uri="{FF2B5EF4-FFF2-40B4-BE49-F238E27FC236}">
                <a16:creationId xmlns:a16="http://schemas.microsoft.com/office/drawing/2014/main" id="{24C4B0E5-1FAB-46DB-BBA3-3C95E96B101E}"/>
              </a:ext>
            </a:extLst>
          </p:cNvPr>
          <p:cNvSpPr/>
          <p:nvPr/>
        </p:nvSpPr>
        <p:spPr>
          <a:xfrm flipV="1">
            <a:off x="7312898" y="1791076"/>
            <a:ext cx="964304" cy="2906516"/>
          </a:xfrm>
          <a:prstGeom prst="curvedLef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Arrow: Curved Left 27">
            <a:extLst>
              <a:ext uri="{FF2B5EF4-FFF2-40B4-BE49-F238E27FC236}">
                <a16:creationId xmlns:a16="http://schemas.microsoft.com/office/drawing/2014/main" id="{C7C2A0A5-F23A-4572-A47F-F6BBD6361053}"/>
              </a:ext>
            </a:extLst>
          </p:cNvPr>
          <p:cNvSpPr/>
          <p:nvPr/>
        </p:nvSpPr>
        <p:spPr>
          <a:xfrm flipH="1">
            <a:off x="3953150" y="1997032"/>
            <a:ext cx="964304" cy="2863936"/>
          </a:xfrm>
          <a:prstGeom prst="curved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B729DC6-7855-4351-A90C-630A534F6EB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6559" y="1292557"/>
            <a:ext cx="1652753" cy="1446159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485DA187-1B5F-436F-9E44-8EA5639C20F1}"/>
              </a:ext>
            </a:extLst>
          </p:cNvPr>
          <p:cNvSpPr txBox="1"/>
          <p:nvPr/>
        </p:nvSpPr>
        <p:spPr>
          <a:xfrm>
            <a:off x="5408194" y="2462633"/>
            <a:ext cx="13885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Stakeholde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B5C026-493E-478E-9FB2-DACB8269A292}"/>
              </a:ext>
            </a:extLst>
          </p:cNvPr>
          <p:cNvSpPr txBox="1"/>
          <p:nvPr/>
        </p:nvSpPr>
        <p:spPr>
          <a:xfrm>
            <a:off x="4345954" y="3668337"/>
            <a:ext cx="1143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Build the right thing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0E27EBF-E80B-4E66-A45D-493B29AF4C1F}"/>
              </a:ext>
            </a:extLst>
          </p:cNvPr>
          <p:cNvSpPr/>
          <p:nvPr/>
        </p:nvSpPr>
        <p:spPr>
          <a:xfrm>
            <a:off x="5094664" y="4101588"/>
            <a:ext cx="1143000" cy="1097280"/>
          </a:xfrm>
          <a:prstGeom prst="ellipse">
            <a:avLst/>
          </a:prstGeom>
          <a:solidFill>
            <a:schemeClr val="accent4">
              <a:lumMod val="20000"/>
              <a:lumOff val="80000"/>
              <a:alpha val="46000"/>
            </a:schemeClr>
          </a:solidFill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O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EE5C64-017D-4EEE-90AE-440670123739}"/>
              </a:ext>
            </a:extLst>
          </p:cNvPr>
          <p:cNvSpPr/>
          <p:nvPr/>
        </p:nvSpPr>
        <p:spPr>
          <a:xfrm>
            <a:off x="5967247" y="4101588"/>
            <a:ext cx="1143000" cy="1097280"/>
          </a:xfrm>
          <a:prstGeom prst="ellipse">
            <a:avLst/>
          </a:prstGeom>
          <a:solidFill>
            <a:schemeClr val="accent5">
              <a:lumMod val="20000"/>
              <a:lumOff val="80000"/>
              <a:alpha val="56000"/>
            </a:schemeClr>
          </a:solidFill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eam</a:t>
            </a:r>
          </a:p>
        </p:txBody>
      </p:sp>
    </p:spTree>
    <p:extLst>
      <p:ext uri="{BB962C8B-B14F-4D97-AF65-F5344CB8AC3E}">
        <p14:creationId xmlns:p14="http://schemas.microsoft.com/office/powerpoint/2010/main" val="4281919309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ile Planning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r="36838"/>
          <a:stretch/>
        </p:blipFill>
        <p:spPr>
          <a:xfrm>
            <a:off x="2362200" y="1524000"/>
            <a:ext cx="7467600" cy="496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870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7924" y="1584960"/>
            <a:ext cx="4850166" cy="4811149"/>
          </a:xfrm>
        </p:spPr>
        <p:txBody>
          <a:bodyPr>
            <a:normAutofit/>
          </a:bodyPr>
          <a:lstStyle/>
          <a:p>
            <a:pPr>
              <a:buClr>
                <a:schemeClr val="accent2">
                  <a:lumMod val="50000"/>
                </a:schemeClr>
              </a:buClr>
              <a:tabLst>
                <a:tab pos="231775" algn="l"/>
              </a:tabLst>
            </a:pPr>
            <a:r>
              <a:rPr lang="en-US" sz="1800" i="1" dirty="0">
                <a:latin typeface="+mn-lt"/>
              </a:rPr>
              <a:t>Purpose</a:t>
            </a:r>
            <a:r>
              <a:rPr lang="en-US" sz="1800" dirty="0">
                <a:latin typeface="+mn-lt"/>
              </a:rPr>
              <a:t>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Select work from the roadmap/backlog for the release</a:t>
            </a:r>
            <a:br>
              <a:rPr lang="en-US" sz="1800" dirty="0">
                <a:latin typeface="+mn-lt"/>
              </a:rPr>
            </a:br>
            <a:br>
              <a:rPr lang="en-US" sz="1800" dirty="0">
                <a:latin typeface="+mn-lt"/>
              </a:rPr>
            </a:br>
            <a:r>
              <a:rPr lang="en-US" sz="1800" i="1" dirty="0">
                <a:latin typeface="+mn-lt"/>
              </a:rPr>
              <a:t>Preparation</a:t>
            </a:r>
            <a:r>
              <a:rPr lang="en-US" sz="1800" dirty="0">
                <a:latin typeface="+mn-lt"/>
              </a:rPr>
              <a:t>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Prioritized and estimated backlog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Product Owner ready to discuss details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Release timebox (how many sprints)</a:t>
            </a:r>
            <a:br>
              <a:rPr lang="en-US" sz="1800" dirty="0">
                <a:latin typeface="+mn-lt"/>
              </a:rPr>
            </a:br>
            <a:br>
              <a:rPr lang="en-US" sz="1800" dirty="0">
                <a:latin typeface="+mn-lt"/>
              </a:rPr>
            </a:br>
            <a:r>
              <a:rPr lang="en-US" sz="1800" i="1" dirty="0">
                <a:latin typeface="+mn-lt"/>
              </a:rPr>
              <a:t>Execution</a:t>
            </a:r>
            <a:r>
              <a:rPr lang="en-US" sz="1800" dirty="0">
                <a:latin typeface="+mn-lt"/>
              </a:rPr>
              <a:t>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Review each epic by priority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Select stories and add to sprints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Validate velocity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97608" y="0"/>
            <a:ext cx="5379720" cy="1341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2pPr>
            <a:lvl3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3pPr>
            <a:lvl4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4pPr>
            <a:lvl5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9pPr>
          </a:lstStyle>
          <a:p>
            <a:r>
              <a:rPr lang="en-US" sz="2800" kern="0" dirty="0">
                <a:solidFill>
                  <a:schemeClr val="tx1"/>
                </a:solidFill>
              </a:rPr>
              <a:t>Release Plan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1A07D5-671E-4AAC-BE9C-1A47B855382E}"/>
              </a:ext>
            </a:extLst>
          </p:cNvPr>
          <p:cNvSpPr txBox="1"/>
          <p:nvPr/>
        </p:nvSpPr>
        <p:spPr>
          <a:xfrm>
            <a:off x="8981091" y="1380836"/>
            <a:ext cx="1589611" cy="5232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400" dirty="0"/>
              <a:t>Timebox: 2-4 hours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68878B3D-7C61-4066-BB6C-C3EE50D165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200" y="2514600"/>
            <a:ext cx="350520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602023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3940" y="1597836"/>
            <a:ext cx="5509260" cy="4811149"/>
          </a:xfrm>
        </p:spPr>
        <p:txBody>
          <a:bodyPr>
            <a:normAutofit/>
          </a:bodyPr>
          <a:lstStyle/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i="1" dirty="0">
                <a:latin typeface="+mn-lt"/>
              </a:rPr>
              <a:t>Purpose</a:t>
            </a:r>
            <a:r>
              <a:rPr lang="en-US" sz="1800" dirty="0">
                <a:latin typeface="+mn-lt"/>
              </a:rPr>
              <a:t>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Select what work is to be done, prepare details for how work will be implemented, make team commitment.</a:t>
            </a:r>
            <a:br>
              <a:rPr lang="en-US" sz="1800" dirty="0">
                <a:latin typeface="+mn-lt"/>
              </a:rPr>
            </a:br>
            <a:br>
              <a:rPr lang="en-US" sz="1800" dirty="0">
                <a:latin typeface="+mn-lt"/>
              </a:rPr>
            </a:br>
            <a:r>
              <a:rPr lang="en-US" sz="1800" i="1" dirty="0">
                <a:latin typeface="+mn-lt"/>
              </a:rPr>
              <a:t>Preparation</a:t>
            </a:r>
            <a:r>
              <a:rPr lang="en-US" sz="1800" dirty="0">
                <a:latin typeface="+mn-lt"/>
              </a:rPr>
              <a:t>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Participation is </a:t>
            </a:r>
            <a:r>
              <a:rPr lang="en-US" sz="1800" u="sng" dirty="0">
                <a:latin typeface="+mn-lt"/>
              </a:rPr>
              <a:t>critical</a:t>
            </a:r>
            <a:br>
              <a:rPr lang="en-US" sz="1800" u="sng" dirty="0">
                <a:latin typeface="+mn-lt"/>
              </a:rPr>
            </a:br>
            <a:r>
              <a:rPr lang="en-US" sz="1800" dirty="0">
                <a:latin typeface="+mn-lt"/>
              </a:rPr>
              <a:t>Prioritized and estimated backlog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Release Plan (optional)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Product Owner ready to discuss details</a:t>
            </a:r>
            <a:br>
              <a:rPr lang="en-US" sz="1800" dirty="0">
                <a:latin typeface="+mn-lt"/>
              </a:rPr>
            </a:br>
            <a:br>
              <a:rPr lang="en-US" sz="1800" dirty="0">
                <a:latin typeface="+mn-lt"/>
              </a:rPr>
            </a:br>
            <a:r>
              <a:rPr lang="en-US" sz="1800" i="1" dirty="0">
                <a:latin typeface="+mn-lt"/>
              </a:rPr>
              <a:t>Execution</a:t>
            </a:r>
            <a:r>
              <a:rPr lang="en-US" sz="1800" dirty="0">
                <a:latin typeface="+mn-lt"/>
              </a:rPr>
              <a:t>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Review each story by priority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Estimate in Story Points (as needed)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Identify specific tasks for each story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Estimate tasks in ideal hours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Compare to actual capacity available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15912" y="-59169"/>
            <a:ext cx="5379720" cy="1341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2pPr>
            <a:lvl3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3pPr>
            <a:lvl4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4pPr>
            <a:lvl5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9pPr>
          </a:lstStyle>
          <a:p>
            <a:r>
              <a:rPr lang="en-US" sz="2800" kern="0" dirty="0">
                <a:solidFill>
                  <a:schemeClr val="tx1"/>
                </a:solidFill>
              </a:rPr>
              <a:t>Sprint Planning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1" y="2430770"/>
            <a:ext cx="3451227" cy="3145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441483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1172" y="134912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aily Standup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4805466" y="1568725"/>
            <a:ext cx="5481535" cy="4883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2pPr>
            <a:lvl3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3pPr>
            <a:lvl4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4pPr>
            <a:lvl5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9pPr>
          </a:lstStyle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b="1" i="1" kern="0" dirty="0">
                <a:solidFill>
                  <a:schemeClr val="tx1"/>
                </a:solidFill>
                <a:latin typeface="+mn-lt"/>
              </a:rPr>
              <a:t>Purpose</a:t>
            </a:r>
            <a:r>
              <a:rPr lang="en-US" sz="1800" b="1" kern="0" dirty="0">
                <a:solidFill>
                  <a:schemeClr val="tx1"/>
                </a:solidFill>
                <a:latin typeface="+mn-lt"/>
              </a:rPr>
              <a:t>:</a:t>
            </a:r>
            <a:br>
              <a:rPr lang="en-US" sz="1800" b="1" kern="0" dirty="0">
                <a:solidFill>
                  <a:schemeClr val="tx1"/>
                </a:solidFill>
                <a:latin typeface="+mn-lt"/>
              </a:rPr>
            </a:br>
            <a:r>
              <a:rPr lang="en-US" sz="1800" kern="0" dirty="0">
                <a:solidFill>
                  <a:schemeClr val="tx1"/>
                </a:solidFill>
                <a:latin typeface="+mn-lt"/>
              </a:rPr>
              <a:t>Planning and inspect and adapt forum.  Used to raise issues, not solutions.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br>
              <a:rPr lang="en-US" sz="1800" kern="0" dirty="0">
                <a:solidFill>
                  <a:schemeClr val="tx1"/>
                </a:solidFill>
                <a:latin typeface="+mn-lt"/>
              </a:rPr>
            </a:br>
            <a:r>
              <a:rPr lang="en-US" sz="1800" b="1" i="1" kern="0" dirty="0">
                <a:solidFill>
                  <a:schemeClr val="tx1"/>
                </a:solidFill>
                <a:latin typeface="+mn-lt"/>
              </a:rPr>
              <a:t>Preparation</a:t>
            </a:r>
            <a:r>
              <a:rPr lang="en-US" sz="1800" b="1" kern="0" dirty="0">
                <a:solidFill>
                  <a:schemeClr val="tx1"/>
                </a:solidFill>
                <a:latin typeface="+mn-lt"/>
              </a:rPr>
              <a:t>:</a:t>
            </a:r>
            <a:br>
              <a:rPr lang="en-US" sz="1800" b="1" kern="0" dirty="0">
                <a:solidFill>
                  <a:schemeClr val="tx1"/>
                </a:solidFill>
                <a:latin typeface="+mn-lt"/>
              </a:rPr>
            </a:br>
            <a:r>
              <a:rPr lang="en-US" sz="1800" kern="0" dirty="0">
                <a:solidFill>
                  <a:schemeClr val="tx1"/>
                </a:solidFill>
                <a:latin typeface="+mn-lt"/>
              </a:rPr>
              <a:t>Tools upda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0" dirty="0">
              <a:solidFill>
                <a:schemeClr val="tx1"/>
              </a:solidFill>
              <a:latin typeface="+mn-lt"/>
            </a:endParaRPr>
          </a:p>
          <a:p>
            <a:pPr lvl="0"/>
            <a:r>
              <a:rPr lang="en-US" sz="1800" b="1" i="1" kern="0" dirty="0">
                <a:solidFill>
                  <a:schemeClr val="tx1"/>
                </a:solidFill>
                <a:latin typeface="+mn-lt"/>
              </a:rPr>
              <a:t>Rules:</a:t>
            </a:r>
          </a:p>
          <a:p>
            <a:pPr lvl="0"/>
            <a:r>
              <a:rPr lang="en-US" sz="1800" kern="0" dirty="0">
                <a:solidFill>
                  <a:schemeClr val="tx1"/>
                </a:solidFill>
                <a:latin typeface="+mn-lt"/>
              </a:rPr>
              <a:t>S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ame time and place every day – use the timebox</a:t>
            </a:r>
          </a:p>
          <a:p>
            <a:pPr lvl="0"/>
            <a:r>
              <a:rPr lang="en-US" sz="1800" dirty="0">
                <a:solidFill>
                  <a:schemeClr val="tx1"/>
                </a:solidFill>
                <a:latin typeface="+mn-lt"/>
              </a:rPr>
              <a:t>Whole team present, including PO</a:t>
            </a:r>
          </a:p>
          <a:p>
            <a:pPr lvl="0"/>
            <a:r>
              <a:rPr lang="en-US" sz="1800" dirty="0">
                <a:solidFill>
                  <a:schemeClr val="tx1"/>
                </a:solidFill>
                <a:latin typeface="+mn-lt"/>
              </a:rPr>
              <a:t>Always be on time!</a:t>
            </a:r>
          </a:p>
          <a:p>
            <a:pPr lvl="0"/>
            <a:r>
              <a:rPr lang="en-US" sz="1800" dirty="0">
                <a:solidFill>
                  <a:schemeClr val="tx1"/>
                </a:solidFill>
                <a:latin typeface="+mn-lt"/>
              </a:rPr>
              <a:t>No problem solving</a:t>
            </a:r>
          </a:p>
          <a:p>
            <a:pPr lvl="0"/>
            <a:r>
              <a:rPr lang="en-US" sz="1800" dirty="0">
                <a:solidFill>
                  <a:schemeClr val="tx1"/>
                </a:solidFill>
                <a:latin typeface="+mn-lt"/>
              </a:rPr>
              <a:t>No electronics</a:t>
            </a:r>
          </a:p>
          <a:p>
            <a:pPr lvl="0"/>
            <a:r>
              <a:rPr lang="en-US" sz="1800" dirty="0">
                <a:solidFill>
                  <a:schemeClr val="tx1"/>
                </a:solidFill>
                <a:latin typeface="+mn-lt"/>
              </a:rPr>
              <a:t>Only team can talk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br>
              <a:rPr lang="en-US" sz="1800" kern="0" dirty="0">
                <a:solidFill>
                  <a:schemeClr val="tx1"/>
                </a:solidFill>
                <a:latin typeface="+mn-lt"/>
              </a:rPr>
            </a:br>
            <a:r>
              <a:rPr lang="en-US" sz="1800" b="1" i="1" kern="0" dirty="0">
                <a:solidFill>
                  <a:schemeClr val="tx1"/>
                </a:solidFill>
                <a:latin typeface="+mn-lt"/>
              </a:rPr>
              <a:t>Execution</a:t>
            </a:r>
            <a:r>
              <a:rPr lang="en-US" sz="1800" b="1" kern="0" dirty="0">
                <a:solidFill>
                  <a:schemeClr val="tx1"/>
                </a:solidFill>
                <a:latin typeface="+mn-lt"/>
              </a:rPr>
              <a:t>:</a:t>
            </a:r>
            <a:br>
              <a:rPr lang="en-US" sz="1800" b="1" kern="0" dirty="0">
                <a:solidFill>
                  <a:schemeClr val="tx1"/>
                </a:solidFill>
                <a:latin typeface="+mn-lt"/>
              </a:rPr>
            </a:br>
            <a:r>
              <a:rPr lang="en-US" sz="1800" kern="0" dirty="0">
                <a:solidFill>
                  <a:schemeClr val="tx1"/>
                </a:solidFill>
                <a:latin typeface="+mn-lt"/>
              </a:rPr>
              <a:t>3 Questions, or “Walk the Board”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1" y="2534232"/>
            <a:ext cx="2904685" cy="295265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751300" y="1380837"/>
            <a:ext cx="2819401" cy="30777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400" dirty="0"/>
              <a:t>Timebox: 15 minutes + breakout</a:t>
            </a:r>
          </a:p>
        </p:txBody>
      </p:sp>
    </p:spTree>
    <p:extLst>
      <p:ext uri="{BB962C8B-B14F-4D97-AF65-F5344CB8AC3E}">
        <p14:creationId xmlns:p14="http://schemas.microsoft.com/office/powerpoint/2010/main" val="31378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3940" y="1597836"/>
            <a:ext cx="5710104" cy="4811149"/>
          </a:xfrm>
        </p:spPr>
        <p:txBody>
          <a:bodyPr>
            <a:normAutofit/>
          </a:bodyPr>
          <a:lstStyle/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i="1" dirty="0">
                <a:latin typeface="+mn-lt"/>
              </a:rPr>
              <a:t>Purpose</a:t>
            </a:r>
            <a:r>
              <a:rPr lang="en-US" sz="1800" dirty="0">
                <a:latin typeface="+mn-lt"/>
              </a:rPr>
              <a:t>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Elaborate and refine work for future sprints.  Make stories “Sprint Ready”.</a:t>
            </a:r>
            <a:br>
              <a:rPr lang="en-US" sz="1800" dirty="0">
                <a:latin typeface="+mn-lt"/>
              </a:rPr>
            </a:br>
            <a:br>
              <a:rPr lang="en-US" sz="1800" dirty="0">
                <a:latin typeface="+mn-lt"/>
              </a:rPr>
            </a:br>
            <a:r>
              <a:rPr lang="en-US" sz="1800" i="1" dirty="0">
                <a:latin typeface="+mn-lt"/>
              </a:rPr>
              <a:t>Preparation</a:t>
            </a:r>
            <a:r>
              <a:rPr lang="en-US" sz="1800" dirty="0">
                <a:latin typeface="+mn-lt"/>
              </a:rPr>
              <a:t>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Participation is </a:t>
            </a:r>
            <a:r>
              <a:rPr lang="en-US" sz="1800" u="sng" dirty="0">
                <a:latin typeface="+mn-lt"/>
              </a:rPr>
              <a:t>critical</a:t>
            </a:r>
            <a:br>
              <a:rPr lang="en-US" sz="1800" u="sng" dirty="0">
                <a:latin typeface="+mn-lt"/>
              </a:rPr>
            </a:br>
            <a:r>
              <a:rPr lang="en-US" sz="1800" dirty="0">
                <a:latin typeface="+mn-lt"/>
              </a:rPr>
              <a:t>Prioritized backlog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Product Owner ready to discuss details</a:t>
            </a:r>
            <a:br>
              <a:rPr lang="en-US" sz="1800" dirty="0">
                <a:latin typeface="+mn-lt"/>
              </a:rPr>
            </a:br>
            <a:br>
              <a:rPr lang="en-US" sz="1800" dirty="0">
                <a:latin typeface="+mn-lt"/>
              </a:rPr>
            </a:br>
            <a:r>
              <a:rPr lang="en-US" sz="1800" i="1" dirty="0">
                <a:latin typeface="+mn-lt"/>
              </a:rPr>
              <a:t>Execution</a:t>
            </a:r>
            <a:r>
              <a:rPr lang="en-US" sz="1800" dirty="0">
                <a:latin typeface="+mn-lt"/>
              </a:rPr>
              <a:t>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Partial team for early refinement, whole team for estimating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Review each story by priority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Ask questions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Split epics as necessary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Document in acceptance criteria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Estimate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523407" y="0"/>
            <a:ext cx="5379720" cy="1341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2pPr>
            <a:lvl3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3pPr>
            <a:lvl4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4pPr>
            <a:lvl5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9pPr>
          </a:lstStyle>
          <a:p>
            <a:r>
              <a:rPr lang="en-US" sz="2800" kern="0" dirty="0">
                <a:solidFill>
                  <a:schemeClr val="tx1"/>
                </a:solidFill>
              </a:rPr>
              <a:t>Backlog Refinement</a:t>
            </a:r>
          </a:p>
        </p:txBody>
      </p:sp>
      <p:pic>
        <p:nvPicPr>
          <p:cNvPr id="7" name="Picture 6" descr="A picture containing woman, indoor, clothing&#10;&#10;Description automatically generated">
            <a:extLst>
              <a:ext uri="{FF2B5EF4-FFF2-40B4-BE49-F238E27FC236}">
                <a16:creationId xmlns:a16="http://schemas.microsoft.com/office/drawing/2014/main" id="{C20B2A4C-22B9-4CEC-B26C-C379CB2D59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1" y="1905000"/>
            <a:ext cx="2619375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94822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8686" y="137313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print Review/Demo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4494180" y="1257180"/>
            <a:ext cx="6069864" cy="54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2pPr>
            <a:lvl3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3pPr>
            <a:lvl4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4pPr>
            <a:lvl5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9pPr>
          </a:lstStyle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b="1" i="1" dirty="0">
                <a:solidFill>
                  <a:schemeClr val="tx1"/>
                </a:solidFill>
                <a:latin typeface="+mn-lt"/>
              </a:rPr>
              <a:t>Purpose: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Showcase working product to stakeholders.  Excellent forum for new stories.  Enhances quality of product and builds trust with stakeholders.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endParaRPr lang="en-US" sz="1800" dirty="0">
              <a:solidFill>
                <a:schemeClr val="tx1"/>
              </a:solidFill>
              <a:latin typeface="+mn-lt"/>
            </a:endParaRPr>
          </a:p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b="1" i="1" dirty="0">
                <a:solidFill>
                  <a:schemeClr val="tx1"/>
                </a:solidFill>
                <a:latin typeface="+mn-lt"/>
              </a:rPr>
              <a:t>Preparation</a:t>
            </a:r>
            <a:r>
              <a:rPr lang="en-US" sz="1800" b="1" dirty="0">
                <a:solidFill>
                  <a:schemeClr val="tx1"/>
                </a:solidFill>
                <a:latin typeface="+mn-lt"/>
              </a:rPr>
              <a:t>: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</a:rPr>
              <a:t>Metrics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</a:rPr>
              <a:t>Working product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endParaRPr lang="en-US" sz="1800" dirty="0">
              <a:solidFill>
                <a:schemeClr val="tx1"/>
              </a:solidFill>
              <a:latin typeface="+mn-lt"/>
            </a:endParaRPr>
          </a:p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b="1" i="1" dirty="0">
                <a:solidFill>
                  <a:schemeClr val="tx1"/>
                </a:solidFill>
                <a:latin typeface="+mn-lt"/>
              </a:rPr>
              <a:t>Execution</a:t>
            </a:r>
            <a:r>
              <a:rPr lang="en-US" sz="1800" b="1" dirty="0">
                <a:solidFill>
                  <a:schemeClr val="tx1"/>
                </a:solidFill>
                <a:latin typeface="+mn-lt"/>
              </a:rPr>
              <a:t>: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</a:rPr>
              <a:t>Discuss metrics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</a:rPr>
              <a:t>Discuss what is not done and why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</a:rPr>
              <a:t>Delivery team demos working software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</a:rPr>
              <a:t>Welcome feedback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</a:rPr>
              <a:t>Collect new user stori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1905000" y="2319626"/>
            <a:ext cx="2305930" cy="3303781"/>
            <a:chOff x="457200" y="921434"/>
            <a:chExt cx="2857500" cy="3810000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00" y="921434"/>
              <a:ext cx="2857500" cy="3810000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728525" y="1581150"/>
              <a:ext cx="906212" cy="7453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C00000"/>
                  </a:solidFill>
                </a:rPr>
                <a:t>Your</a:t>
              </a:r>
            </a:p>
            <a:p>
              <a:pPr algn="ctr"/>
              <a:r>
                <a:rPr lang="en-US" sz="1200" dirty="0">
                  <a:solidFill>
                    <a:srgbClr val="C00000"/>
                  </a:solidFill>
                </a:rPr>
                <a:t>Product</a:t>
              </a:r>
            </a:p>
            <a:p>
              <a:pPr algn="ctr"/>
              <a:r>
                <a:rPr lang="en-US" sz="1200" dirty="0">
                  <a:solidFill>
                    <a:srgbClr val="C00000"/>
                  </a:solidFill>
                </a:rPr>
                <a:t>Here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CBD17B8-8639-420F-A603-009ED011BF23}"/>
              </a:ext>
            </a:extLst>
          </p:cNvPr>
          <p:cNvSpPr txBox="1"/>
          <p:nvPr/>
        </p:nvSpPr>
        <p:spPr>
          <a:xfrm>
            <a:off x="8981091" y="1380836"/>
            <a:ext cx="1589611" cy="5232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400" dirty="0"/>
              <a:t>Timebox: 1-2 hours</a:t>
            </a:r>
          </a:p>
        </p:txBody>
      </p:sp>
    </p:spTree>
    <p:extLst>
      <p:ext uri="{BB962C8B-B14F-4D97-AF65-F5344CB8AC3E}">
        <p14:creationId xmlns:p14="http://schemas.microsoft.com/office/powerpoint/2010/main" val="19513917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6181" y="172387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trospective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2164081" y="3429000"/>
            <a:ext cx="8309367" cy="3040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2pPr>
            <a:lvl3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3pPr>
            <a:lvl4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4pPr>
            <a:lvl5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9pPr>
          </a:lstStyle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b="1" i="1" kern="0" dirty="0">
                <a:solidFill>
                  <a:schemeClr val="tx1"/>
                </a:solidFill>
                <a:latin typeface="+mn-lt"/>
              </a:rPr>
              <a:t>Purpose</a:t>
            </a:r>
            <a:r>
              <a:rPr lang="en-US" sz="1800" b="1" kern="0" dirty="0">
                <a:solidFill>
                  <a:schemeClr val="tx1"/>
                </a:solidFill>
                <a:latin typeface="+mn-lt"/>
              </a:rPr>
              <a:t>:</a:t>
            </a:r>
            <a:br>
              <a:rPr lang="en-US" sz="1800" b="1" kern="0" dirty="0">
                <a:solidFill>
                  <a:schemeClr val="tx1"/>
                </a:solidFill>
                <a:latin typeface="+mn-lt"/>
              </a:rPr>
            </a:br>
            <a:r>
              <a:rPr lang="en-US" sz="1800" dirty="0">
                <a:solidFill>
                  <a:schemeClr val="tx1"/>
                </a:solidFill>
                <a:latin typeface="+mn-lt"/>
              </a:rPr>
              <a:t>Inspect and adapt forum.  Opportunity to improve process and teamwork.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endParaRPr lang="en-US" sz="1800" kern="0" dirty="0">
              <a:solidFill>
                <a:schemeClr val="tx1"/>
              </a:solidFill>
              <a:latin typeface="+mn-lt"/>
            </a:endParaRPr>
          </a:p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b="1" i="1" kern="0" dirty="0">
                <a:solidFill>
                  <a:schemeClr val="tx1"/>
                </a:solidFill>
                <a:latin typeface="+mn-lt"/>
              </a:rPr>
              <a:t>Rules: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kern="0" dirty="0">
                <a:solidFill>
                  <a:schemeClr val="tx1"/>
                </a:solidFill>
                <a:latin typeface="+mn-lt"/>
              </a:rPr>
              <a:t>Bring ideas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kern="0" dirty="0">
                <a:solidFill>
                  <a:schemeClr val="tx1"/>
                </a:solidFill>
                <a:latin typeface="+mn-lt"/>
              </a:rPr>
              <a:t>Must be safe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0" dirty="0">
              <a:solidFill>
                <a:schemeClr val="tx1"/>
              </a:solidFill>
              <a:latin typeface="+mn-lt"/>
            </a:endParaRPr>
          </a:p>
          <a:p>
            <a:pPr lvl="0"/>
            <a:r>
              <a:rPr lang="en-US" sz="1800" b="1" i="1" kern="0" dirty="0">
                <a:solidFill>
                  <a:schemeClr val="tx1"/>
                </a:solidFill>
                <a:latin typeface="+mn-lt"/>
              </a:rPr>
              <a:t>Execution: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What worked well?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What did not work well?</a:t>
            </a:r>
          </a:p>
          <a:p>
            <a:pPr>
              <a:buClr>
                <a:schemeClr val="accent2">
                  <a:lumMod val="50000"/>
                </a:schemeClr>
              </a:buClr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What will we improve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981091" y="1380836"/>
            <a:ext cx="1589611" cy="5232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400" dirty="0"/>
              <a:t>Timebox: 1-2 hours</a:t>
            </a:r>
          </a:p>
        </p:txBody>
      </p:sp>
      <p:pic>
        <p:nvPicPr>
          <p:cNvPr id="5" name="Picture 4" descr="A picture containing indoor, table&#10;&#10;Description automatically generated">
            <a:extLst>
              <a:ext uri="{FF2B5EF4-FFF2-40B4-BE49-F238E27FC236}">
                <a16:creationId xmlns:a16="http://schemas.microsoft.com/office/drawing/2014/main" id="{D55A87DB-0379-4719-892D-78A1FD7C3D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600" y="1406236"/>
            <a:ext cx="4114800" cy="257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675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E7B396-5BE6-441A-981D-99BB44576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dence Calendar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161BBC1-FF22-4A74-8355-98A4E9C64A8D}"/>
              </a:ext>
            </a:extLst>
          </p:cNvPr>
          <p:cNvGraphicFramePr>
            <a:graphicFrameLocks noGrp="1"/>
          </p:cNvGraphicFramePr>
          <p:nvPr/>
        </p:nvGraphicFramePr>
        <p:xfrm>
          <a:off x="2209800" y="1740932"/>
          <a:ext cx="7848600" cy="1645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9720">
                  <a:extLst>
                    <a:ext uri="{9D8B030D-6E8A-4147-A177-3AD203B41FA5}">
                      <a16:colId xmlns:a16="http://schemas.microsoft.com/office/drawing/2014/main" val="4199036739"/>
                    </a:ext>
                  </a:extLst>
                </a:gridCol>
                <a:gridCol w="1569720">
                  <a:extLst>
                    <a:ext uri="{9D8B030D-6E8A-4147-A177-3AD203B41FA5}">
                      <a16:colId xmlns:a16="http://schemas.microsoft.com/office/drawing/2014/main" val="3122015090"/>
                    </a:ext>
                  </a:extLst>
                </a:gridCol>
                <a:gridCol w="1569720">
                  <a:extLst>
                    <a:ext uri="{9D8B030D-6E8A-4147-A177-3AD203B41FA5}">
                      <a16:colId xmlns:a16="http://schemas.microsoft.com/office/drawing/2014/main" val="290196712"/>
                    </a:ext>
                  </a:extLst>
                </a:gridCol>
                <a:gridCol w="1569720">
                  <a:extLst>
                    <a:ext uri="{9D8B030D-6E8A-4147-A177-3AD203B41FA5}">
                      <a16:colId xmlns:a16="http://schemas.microsoft.com/office/drawing/2014/main" val="4277954053"/>
                    </a:ext>
                  </a:extLst>
                </a:gridCol>
                <a:gridCol w="1569720">
                  <a:extLst>
                    <a:ext uri="{9D8B030D-6E8A-4147-A177-3AD203B41FA5}">
                      <a16:colId xmlns:a16="http://schemas.microsoft.com/office/drawing/2014/main" val="18105070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Sprint 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aily Stand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,</a:t>
                      </a:r>
                    </a:p>
                    <a:p>
                      <a:r>
                        <a:rPr lang="en-US" sz="1600" dirty="0"/>
                        <a:t>Story Refin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29812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Story Refin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print Review,</a:t>
                      </a:r>
                    </a:p>
                    <a:p>
                      <a:r>
                        <a:rPr lang="en-US" sz="1600" dirty="0"/>
                        <a:t>Sprint Retrospec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904021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E32E272-F3ED-44BA-970F-C1534DCDFB9F}"/>
              </a:ext>
            </a:extLst>
          </p:cNvPr>
          <p:cNvGraphicFramePr>
            <a:graphicFrameLocks noGrp="1"/>
          </p:cNvGraphicFramePr>
          <p:nvPr/>
        </p:nvGraphicFramePr>
        <p:xfrm>
          <a:off x="2209800" y="4361720"/>
          <a:ext cx="7848600" cy="1645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9720">
                  <a:extLst>
                    <a:ext uri="{9D8B030D-6E8A-4147-A177-3AD203B41FA5}">
                      <a16:colId xmlns:a16="http://schemas.microsoft.com/office/drawing/2014/main" val="4199036739"/>
                    </a:ext>
                  </a:extLst>
                </a:gridCol>
                <a:gridCol w="1569720">
                  <a:extLst>
                    <a:ext uri="{9D8B030D-6E8A-4147-A177-3AD203B41FA5}">
                      <a16:colId xmlns:a16="http://schemas.microsoft.com/office/drawing/2014/main" val="3122015090"/>
                    </a:ext>
                  </a:extLst>
                </a:gridCol>
                <a:gridCol w="1569720">
                  <a:extLst>
                    <a:ext uri="{9D8B030D-6E8A-4147-A177-3AD203B41FA5}">
                      <a16:colId xmlns:a16="http://schemas.microsoft.com/office/drawing/2014/main" val="290196712"/>
                    </a:ext>
                  </a:extLst>
                </a:gridCol>
                <a:gridCol w="1569720">
                  <a:extLst>
                    <a:ext uri="{9D8B030D-6E8A-4147-A177-3AD203B41FA5}">
                      <a16:colId xmlns:a16="http://schemas.microsoft.com/office/drawing/2014/main" val="4277954053"/>
                    </a:ext>
                  </a:extLst>
                </a:gridCol>
                <a:gridCol w="1569720">
                  <a:extLst>
                    <a:ext uri="{9D8B030D-6E8A-4147-A177-3AD203B41FA5}">
                      <a16:colId xmlns:a16="http://schemas.microsoft.com/office/drawing/2014/main" val="18105070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Sprint 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aily Stand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,</a:t>
                      </a:r>
                    </a:p>
                    <a:p>
                      <a:r>
                        <a:rPr lang="en-US" sz="1600" dirty="0"/>
                        <a:t>Story Refin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29812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Story Refin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ily Standup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print Review,</a:t>
                      </a:r>
                    </a:p>
                    <a:p>
                      <a:r>
                        <a:rPr lang="en-US" sz="1600" dirty="0"/>
                        <a:t>Sprint Retrospec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90402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54993F4-7B26-4B71-BF55-DE5C5232116F}"/>
              </a:ext>
            </a:extLst>
          </p:cNvPr>
          <p:cNvSpPr txBox="1"/>
          <p:nvPr/>
        </p:nvSpPr>
        <p:spPr>
          <a:xfrm>
            <a:off x="5690710" y="3691929"/>
            <a:ext cx="9829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No Ga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8A6812-B91C-44CC-AFF2-37DA4B38B6E2}"/>
              </a:ext>
            </a:extLst>
          </p:cNvPr>
          <p:cNvSpPr txBox="1"/>
          <p:nvPr/>
        </p:nvSpPr>
        <p:spPr>
          <a:xfrm>
            <a:off x="2164080" y="1371600"/>
            <a:ext cx="902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print 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E5507D-4FA0-4987-845C-314AB05C86EF}"/>
              </a:ext>
            </a:extLst>
          </p:cNvPr>
          <p:cNvSpPr txBox="1"/>
          <p:nvPr/>
        </p:nvSpPr>
        <p:spPr>
          <a:xfrm>
            <a:off x="2133378" y="4003903"/>
            <a:ext cx="976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print 2</a:t>
            </a:r>
          </a:p>
        </p:txBody>
      </p:sp>
    </p:spTree>
    <p:extLst>
      <p:ext uri="{BB962C8B-B14F-4D97-AF65-F5344CB8AC3E}">
        <p14:creationId xmlns:p14="http://schemas.microsoft.com/office/powerpoint/2010/main" val="443945013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265821-7C06-43DB-A8E9-E91331AA0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ng Product Visio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5B4D522-F378-4B30-AF53-E3A101DAC7FA}"/>
              </a:ext>
            </a:extLst>
          </p:cNvPr>
          <p:cNvGraphicFramePr>
            <a:graphicFrameLocks noGrp="1"/>
          </p:cNvGraphicFramePr>
          <p:nvPr/>
        </p:nvGraphicFramePr>
        <p:xfrm>
          <a:off x="1905000" y="1524001"/>
          <a:ext cx="8382000" cy="4467344"/>
        </p:xfrm>
        <a:graphic>
          <a:graphicData uri="http://schemas.openxmlformats.org/drawingml/2006/table">
            <a:tbl>
              <a:tblPr firstRow="1" bandRow="1" bandCol="1">
                <a:tableStyleId>{5940675A-B579-460E-94D1-54222C63F5DA}</a:tableStyleId>
              </a:tblPr>
              <a:tblGrid>
                <a:gridCol w="2095500">
                  <a:extLst>
                    <a:ext uri="{9D8B030D-6E8A-4147-A177-3AD203B41FA5}">
                      <a16:colId xmlns:a16="http://schemas.microsoft.com/office/drawing/2014/main" val="1928506517"/>
                    </a:ext>
                  </a:extLst>
                </a:gridCol>
                <a:gridCol w="2095500">
                  <a:extLst>
                    <a:ext uri="{9D8B030D-6E8A-4147-A177-3AD203B41FA5}">
                      <a16:colId xmlns:a16="http://schemas.microsoft.com/office/drawing/2014/main" val="3333655549"/>
                    </a:ext>
                  </a:extLst>
                </a:gridCol>
                <a:gridCol w="2095500">
                  <a:extLst>
                    <a:ext uri="{9D8B030D-6E8A-4147-A177-3AD203B41FA5}">
                      <a16:colId xmlns:a16="http://schemas.microsoft.com/office/drawing/2014/main" val="2701743258"/>
                    </a:ext>
                  </a:extLst>
                </a:gridCol>
                <a:gridCol w="2095500">
                  <a:extLst>
                    <a:ext uri="{9D8B030D-6E8A-4147-A177-3AD203B41FA5}">
                      <a16:colId xmlns:a16="http://schemas.microsoft.com/office/drawing/2014/main" val="3990657956"/>
                    </a:ext>
                  </a:extLst>
                </a:gridCol>
              </a:tblGrid>
              <a:tr h="533399">
                <a:tc>
                  <a:txBody>
                    <a:bodyPr/>
                    <a:lstStyle/>
                    <a:p>
                      <a:r>
                        <a:rPr lang="en-US" b="1" dirty="0"/>
                        <a:t>Vision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sz="1400" i="1" dirty="0"/>
                        <a:t>What is the purpose for creating the product?</a:t>
                      </a:r>
                    </a:p>
                    <a:p>
                      <a:r>
                        <a:rPr lang="en-US" sz="1400" i="1" dirty="0"/>
                        <a:t>Which positive change should it bring about?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1752386"/>
                  </a:ext>
                </a:extLst>
              </a:tr>
              <a:tr h="3933945">
                <a:tc>
                  <a:txBody>
                    <a:bodyPr/>
                    <a:lstStyle/>
                    <a:p>
                      <a:r>
                        <a:rPr lang="en-US" b="1" dirty="0"/>
                        <a:t>Target Group</a:t>
                      </a:r>
                    </a:p>
                    <a:p>
                      <a:endParaRPr lang="en-US" sz="1400" dirty="0"/>
                    </a:p>
                    <a:p>
                      <a:r>
                        <a:rPr lang="en-US" sz="1400" i="1" dirty="0"/>
                        <a:t>Which market or market segment does the product address?</a:t>
                      </a:r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r>
                        <a:rPr lang="en-US" sz="1400" i="1" dirty="0"/>
                        <a:t>Who are the target customers and user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/>
                        <a:t>Needs</a:t>
                      </a:r>
                      <a:endParaRPr lang="en-US" sz="1600" b="1" dirty="0"/>
                    </a:p>
                    <a:p>
                      <a:endParaRPr lang="en-US" sz="1400" dirty="0"/>
                    </a:p>
                    <a:p>
                      <a:r>
                        <a:rPr lang="en-US" sz="1400" i="1" dirty="0"/>
                        <a:t>What problem does the product solve?</a:t>
                      </a:r>
                      <a:br>
                        <a:rPr lang="en-US" sz="1400" i="1" dirty="0"/>
                      </a:br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r>
                        <a:rPr lang="en-US" sz="1400" i="1" dirty="0"/>
                        <a:t>Which benefit does it provide?</a:t>
                      </a:r>
                      <a:endParaRPr lang="en-US" sz="16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Product</a:t>
                      </a:r>
                    </a:p>
                    <a:p>
                      <a:endParaRPr lang="en-US" sz="1400" dirty="0"/>
                    </a:p>
                    <a:p>
                      <a:r>
                        <a:rPr lang="en-US" sz="1400" i="1" dirty="0"/>
                        <a:t>What product is it?</a:t>
                      </a:r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r>
                        <a:rPr lang="en-US" sz="1400" i="1" dirty="0"/>
                        <a:t>What makes it stand out?</a:t>
                      </a:r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r>
                        <a:rPr lang="en-US" sz="1400" i="1" dirty="0"/>
                        <a:t>Is it feasible to develop the product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Business Goals</a:t>
                      </a:r>
                      <a:endParaRPr lang="en-US" sz="1400" b="1" dirty="0"/>
                    </a:p>
                    <a:p>
                      <a:endParaRPr lang="en-US" sz="1400" dirty="0"/>
                    </a:p>
                    <a:p>
                      <a:r>
                        <a:rPr lang="en-US" sz="1400" i="1" dirty="0"/>
                        <a:t>How is the product going to benefit the company?</a:t>
                      </a:r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endParaRPr lang="en-US" sz="1400" i="1" dirty="0"/>
                    </a:p>
                    <a:p>
                      <a:r>
                        <a:rPr lang="en-US" sz="1400" i="1" dirty="0"/>
                        <a:t>What are the business goals?</a:t>
                      </a:r>
                      <a:endParaRPr lang="en-US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536289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A4BDF42-E256-4529-ABFC-EA562E6FB896}"/>
              </a:ext>
            </a:extLst>
          </p:cNvPr>
          <p:cNvSpPr txBox="1"/>
          <p:nvPr/>
        </p:nvSpPr>
        <p:spPr>
          <a:xfrm>
            <a:off x="8272794" y="6178474"/>
            <a:ext cx="21355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dirty="0">
                <a:latin typeface="+mj-lt"/>
              </a:rPr>
              <a:t>Source: https://romanpilcher.com</a:t>
            </a:r>
          </a:p>
        </p:txBody>
      </p:sp>
    </p:spTree>
    <p:extLst>
      <p:ext uri="{BB962C8B-B14F-4D97-AF65-F5344CB8AC3E}">
        <p14:creationId xmlns:p14="http://schemas.microsoft.com/office/powerpoint/2010/main" val="19422463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Rectangle 2"/>
          <p:cNvSpPr>
            <a:spLocks noGrp="1" noChangeArrowheads="1"/>
          </p:cNvSpPr>
          <p:nvPr>
            <p:ph type="title"/>
          </p:nvPr>
        </p:nvSpPr>
        <p:spPr>
          <a:xfrm>
            <a:off x="426221" y="164892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he Agile Manifesto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223100" y="6178474"/>
            <a:ext cx="21852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dirty="0">
                <a:latin typeface="+mj-lt"/>
              </a:rPr>
              <a:t>Source: https://agilemanifesto.org/</a:t>
            </a: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911493035"/>
              </p:ext>
            </p:extLst>
          </p:nvPr>
        </p:nvGraphicFramePr>
        <p:xfrm>
          <a:off x="1099175" y="1406772"/>
          <a:ext cx="5691097" cy="4809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079513738"/>
              </p:ext>
            </p:extLst>
          </p:nvPr>
        </p:nvGraphicFramePr>
        <p:xfrm>
          <a:off x="5228916" y="1406772"/>
          <a:ext cx="5704542" cy="4809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218206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61909F-BFE9-4CE8-8429-23FE0A196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68" y="576624"/>
            <a:ext cx="11325223" cy="604129"/>
          </a:xfrm>
        </p:spPr>
        <p:txBody>
          <a:bodyPr>
            <a:normAutofit/>
          </a:bodyPr>
          <a:lstStyle/>
          <a:p>
            <a:r>
              <a:rPr lang="en-US" dirty="0"/>
              <a:t>SAMPLE 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233670E4-12B6-4CFD-B33F-9E30F4C1FFB3}"/>
              </a:ext>
            </a:extLst>
          </p:cNvPr>
          <p:cNvGraphicFramePr>
            <a:graphicFrameLocks noGrp="1"/>
          </p:cNvGraphicFramePr>
          <p:nvPr>
            <p:ph idx="10"/>
          </p:nvPr>
        </p:nvGraphicFramePr>
        <p:xfrm>
          <a:off x="445429" y="1944090"/>
          <a:ext cx="11386862" cy="401924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797619">
                  <a:extLst>
                    <a:ext uri="{9D8B030D-6E8A-4147-A177-3AD203B41FA5}">
                      <a16:colId xmlns:a16="http://schemas.microsoft.com/office/drawing/2014/main" val="2712604946"/>
                    </a:ext>
                  </a:extLst>
                </a:gridCol>
                <a:gridCol w="8589243">
                  <a:extLst>
                    <a:ext uri="{9D8B030D-6E8A-4147-A177-3AD203B41FA5}">
                      <a16:colId xmlns:a16="http://schemas.microsoft.com/office/drawing/2014/main" val="3931072227"/>
                    </a:ext>
                  </a:extLst>
                </a:gridCol>
              </a:tblGrid>
              <a:tr h="470384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Vision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is the overall goal of this value stream?  Why are we doing this and what is the value?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5313419"/>
                  </a:ext>
                </a:extLst>
              </a:tr>
              <a:tr h="470384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Success Criteria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do we measure we have achieved this value stream? How do we know we are done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0602186"/>
                  </a:ext>
                </a:extLst>
              </a:tr>
              <a:tr h="331011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Input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data will be utilized by this value stream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integrations are needed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89190"/>
                  </a:ext>
                </a:extLst>
              </a:tr>
              <a:tr h="331011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Dependencie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ll we have to coordinate with other teams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 we have a hard due date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787868"/>
                  </a:ext>
                </a:extLst>
              </a:tr>
              <a:tr h="19163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echnical Consideration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</a:rPr>
                        <a:t>What systems are we working with?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0194849"/>
                  </a:ext>
                </a:extLst>
              </a:tr>
              <a:tr h="19163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Work Chunk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</a:rPr>
                        <a:t>How can we break the work down into smaller chunks?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8666266"/>
                  </a:ext>
                </a:extLst>
              </a:tr>
              <a:tr h="19163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ustomer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</a:rPr>
                        <a:t>Who are the customers of this value stream?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3308675"/>
                  </a:ext>
                </a:extLst>
              </a:tr>
              <a:tr h="19163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hange Management Consideration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</a:rPr>
                        <a:t>What communications do we need? Training? 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021239"/>
                  </a:ext>
                </a:extLst>
              </a:tr>
              <a:tr h="19163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Business Process Owner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</a:rPr>
                        <a:t>Who owns acceptance testing?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4098467"/>
                  </a:ext>
                </a:extLst>
              </a:tr>
            </a:tbl>
          </a:graphicData>
        </a:graphic>
      </p:graphicFrame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BB9BBC3-6F90-48EA-9B0A-CE6D6D752227}"/>
              </a:ext>
            </a:extLst>
          </p:cNvPr>
          <p:cNvSpPr txBox="1">
            <a:spLocks/>
          </p:cNvSpPr>
          <p:nvPr/>
        </p:nvSpPr>
        <p:spPr>
          <a:xfrm>
            <a:off x="390528" y="1319305"/>
            <a:ext cx="11387327" cy="3476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b="1" kern="1200" spc="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800" b="0" dirty="0"/>
              <a:t>Defining work to get to “DONE”</a:t>
            </a:r>
          </a:p>
        </p:txBody>
      </p:sp>
    </p:spTree>
    <p:extLst>
      <p:ext uri="{BB962C8B-B14F-4D97-AF65-F5344CB8AC3E}">
        <p14:creationId xmlns:p14="http://schemas.microsoft.com/office/powerpoint/2010/main" val="31513581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265821-7C06-43DB-A8E9-E91331AA0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97" y="157397"/>
            <a:ext cx="5791200" cy="1096963"/>
          </a:xfrm>
        </p:spPr>
        <p:txBody>
          <a:bodyPr/>
          <a:lstStyle/>
          <a:p>
            <a:r>
              <a:rPr lang="en-US" dirty="0"/>
              <a:t>Define the Us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19389C-1705-447E-9D53-B8879244A5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2994" y="1570038"/>
            <a:ext cx="5307806" cy="4525963"/>
          </a:xfrm>
        </p:spPr>
        <p:txBody>
          <a:bodyPr/>
          <a:lstStyle/>
          <a:p>
            <a:r>
              <a:rPr lang="en-US" dirty="0"/>
              <a:t>Remember Manifesto Principle #1:  </a:t>
            </a:r>
          </a:p>
          <a:p>
            <a:pPr marL="457200" lvl="1" indent="0">
              <a:buNone/>
            </a:pPr>
            <a:r>
              <a:rPr lang="en-US" b="0" i="1" dirty="0"/>
              <a:t>Our highest priority is to satisfy the customer through early and continuous delivery of valuable product.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8A185D-3085-47D7-A48A-BAC267B851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2345267"/>
            <a:ext cx="3150394" cy="37338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863DB42-038B-430A-8F95-5E3713CA355B}"/>
              </a:ext>
            </a:extLst>
          </p:cNvPr>
          <p:cNvSpPr/>
          <p:nvPr/>
        </p:nvSpPr>
        <p:spPr>
          <a:xfrm>
            <a:off x="9972282" y="5928224"/>
            <a:ext cx="275897" cy="409904"/>
          </a:xfrm>
          <a:prstGeom prst="rect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625F13-DE62-4432-BD66-A67442786BEE}"/>
              </a:ext>
            </a:extLst>
          </p:cNvPr>
          <p:cNvSpPr/>
          <p:nvPr/>
        </p:nvSpPr>
        <p:spPr>
          <a:xfrm>
            <a:off x="8868611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4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1E4943-07E4-481D-9B2A-99FFD057A0CC}"/>
              </a:ext>
            </a:extLst>
          </p:cNvPr>
          <p:cNvSpPr/>
          <p:nvPr/>
        </p:nvSpPr>
        <p:spPr>
          <a:xfrm>
            <a:off x="9142608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09AD94-6E16-46DF-86EA-AE101CBD975F}"/>
              </a:ext>
            </a:extLst>
          </p:cNvPr>
          <p:cNvSpPr/>
          <p:nvPr/>
        </p:nvSpPr>
        <p:spPr>
          <a:xfrm>
            <a:off x="9416605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2</a:t>
            </a:r>
          </a:p>
        </p:txBody>
      </p:sp>
      <p:pic>
        <p:nvPicPr>
          <p:cNvPr id="10" name="Picture 9" descr="A watch on a white surface&#10;&#10;Description generated with very high confidence">
            <a:extLst>
              <a:ext uri="{FF2B5EF4-FFF2-40B4-BE49-F238E27FC236}">
                <a16:creationId xmlns:a16="http://schemas.microsoft.com/office/drawing/2014/main" id="{DAA3C5E0-BE15-40B9-8149-DFA75412D22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247" y="5738216"/>
            <a:ext cx="569378" cy="75917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9C3147E-CB41-42B8-99CD-173F86B386DA}"/>
              </a:ext>
            </a:extLst>
          </p:cNvPr>
          <p:cNvSpPr/>
          <p:nvPr/>
        </p:nvSpPr>
        <p:spPr>
          <a:xfrm>
            <a:off x="7070192" y="5928224"/>
            <a:ext cx="440039" cy="409904"/>
          </a:xfrm>
          <a:prstGeom prst="rect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1600" dirty="0"/>
              <a:t>1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CD739F-97F4-4A11-8E38-BAFA4997F960}"/>
              </a:ext>
            </a:extLst>
          </p:cNvPr>
          <p:cNvSpPr txBox="1"/>
          <p:nvPr/>
        </p:nvSpPr>
        <p:spPr>
          <a:xfrm>
            <a:off x="10248177" y="5881833"/>
            <a:ext cx="2712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92D050"/>
                </a:solidFill>
              </a:rPr>
              <a:t>*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F0A3BF-6676-4F90-B3F8-776A008D4147}"/>
              </a:ext>
            </a:extLst>
          </p:cNvPr>
          <p:cNvSpPr/>
          <p:nvPr/>
        </p:nvSpPr>
        <p:spPr>
          <a:xfrm>
            <a:off x="9693029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2A4DC1-435E-423E-84AF-0F990728EC9F}"/>
              </a:ext>
            </a:extLst>
          </p:cNvPr>
          <p:cNvSpPr/>
          <p:nvPr/>
        </p:nvSpPr>
        <p:spPr>
          <a:xfrm>
            <a:off x="8594897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17980E-4A93-41F1-AE52-AB2687B68E6B}"/>
              </a:ext>
            </a:extLst>
          </p:cNvPr>
          <p:cNvSpPr/>
          <p:nvPr/>
        </p:nvSpPr>
        <p:spPr>
          <a:xfrm>
            <a:off x="8328579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0D6A07-6598-4012-9E4F-794EC5EEE5E5}"/>
              </a:ext>
            </a:extLst>
          </p:cNvPr>
          <p:cNvSpPr/>
          <p:nvPr/>
        </p:nvSpPr>
        <p:spPr>
          <a:xfrm>
            <a:off x="8050576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8F87DF3-596E-4F87-9F74-C49D8496B42C}"/>
              </a:ext>
            </a:extLst>
          </p:cNvPr>
          <p:cNvSpPr/>
          <p:nvPr/>
        </p:nvSpPr>
        <p:spPr>
          <a:xfrm>
            <a:off x="7788549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8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1D75EB4-F9BC-4830-AF11-76B9E6C2C488}"/>
              </a:ext>
            </a:extLst>
          </p:cNvPr>
          <p:cNvSpPr/>
          <p:nvPr/>
        </p:nvSpPr>
        <p:spPr>
          <a:xfrm>
            <a:off x="7525263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793475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1" presetClass="entr" presetSubtype="1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59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0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59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00"/>
                            </p:stCondLst>
                            <p:childTnLst>
                              <p:par>
                                <p:cTn id="17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59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80000"/>
                            </p:stCondLst>
                            <p:childTnLst>
                              <p:par>
                                <p:cTn id="21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59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40000"/>
                            </p:stCondLst>
                            <p:childTnLst>
                              <p:par>
                                <p:cTn id="25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59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00"/>
                            </p:stCondLst>
                            <p:childTnLst>
                              <p:par>
                                <p:cTn id="29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1" dur="59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60000"/>
                            </p:stCondLst>
                            <p:childTnLst>
                              <p:par>
                                <p:cTn id="33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" dur="59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20000"/>
                            </p:stCondLst>
                            <p:childTnLst>
                              <p:par>
                                <p:cTn id="37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" dur="59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80000"/>
                            </p:stCondLst>
                            <p:childTnLst>
                              <p:par>
                                <p:cTn id="41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3" dur="59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40000"/>
                            </p:stCondLst>
                            <p:childTnLst>
                              <p:par>
                                <p:cTn id="45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59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00"/>
                            </p:stCondLst>
                            <p:childTnLst>
                              <p:par>
                                <p:cTn id="49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600000"/>
                            </p:stCondLst>
                            <p:childTnLst>
                              <p:par>
                                <p:cTn id="52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3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4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5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6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1" grpId="0" animBg="1"/>
      <p:bldP spid="12" grpId="0"/>
      <p:bldP spid="12" grpId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 Backlo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70" r="5730"/>
          <a:stretch/>
        </p:blipFill>
        <p:spPr>
          <a:xfrm>
            <a:off x="1600201" y="2551415"/>
            <a:ext cx="2682909" cy="319774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407878" y="1828389"/>
            <a:ext cx="609834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b="1" dirty="0"/>
              <a:t>Prioritized list of all work to be performed by the team</a:t>
            </a:r>
          </a:p>
          <a:p>
            <a:pPr lvl="1">
              <a:buClr>
                <a:schemeClr val="accent2">
                  <a:lumMod val="50000"/>
                </a:schemeClr>
              </a:buClr>
            </a:pPr>
            <a:endParaRPr lang="en-US" sz="2000" dirty="0"/>
          </a:p>
          <a:p>
            <a:pPr marL="742950" lvl="1" indent="-285750">
              <a:spcAft>
                <a:spcPts val="1200"/>
              </a:spcAft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Items are defined and prioritized by the Product Owner with input from the team</a:t>
            </a:r>
          </a:p>
          <a:p>
            <a:pPr marL="742950" lvl="1" indent="-285750">
              <a:spcAft>
                <a:spcPts val="1200"/>
              </a:spcAft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New items may be added at any time</a:t>
            </a:r>
          </a:p>
          <a:p>
            <a:pPr marL="742950" lvl="1" indent="-285750">
              <a:spcAft>
                <a:spcPts val="1200"/>
              </a:spcAft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Items may be removed at any time</a:t>
            </a:r>
          </a:p>
          <a:p>
            <a:pPr marL="742950" lvl="1" indent="-285750">
              <a:spcAft>
                <a:spcPts val="1200"/>
              </a:spcAft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Items may be re-prioritized at any time</a:t>
            </a:r>
          </a:p>
          <a:p>
            <a:pPr marL="742950" lvl="1" indent="-285750">
              <a:spcAft>
                <a:spcPts val="1200"/>
              </a:spcAft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Anyone may author an item, but the Product Owner owns its placement in the backlog</a:t>
            </a:r>
          </a:p>
        </p:txBody>
      </p:sp>
    </p:spTree>
    <p:extLst>
      <p:ext uri="{BB962C8B-B14F-4D97-AF65-F5344CB8AC3E}">
        <p14:creationId xmlns:p14="http://schemas.microsoft.com/office/powerpoint/2010/main" val="1775755415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ng the Product</a:t>
            </a:r>
          </a:p>
        </p:txBody>
      </p:sp>
      <p:sp>
        <p:nvSpPr>
          <p:cNvPr id="3" name="Content Placeholder 9"/>
          <p:cNvSpPr txBox="1">
            <a:spLocks/>
          </p:cNvSpPr>
          <p:nvPr/>
        </p:nvSpPr>
        <p:spPr>
          <a:xfrm>
            <a:off x="2397891" y="1706881"/>
            <a:ext cx="7390435" cy="4365971"/>
          </a:xfrm>
          <a:prstGeom prst="rect">
            <a:avLst/>
          </a:prstGeom>
        </p:spPr>
        <p:txBody>
          <a:bodyPr anchor="t"/>
          <a:lstStyle>
            <a:lvl1pPr algn="l" rtl="0" eaLnBrk="1" fontAlgn="base" hangingPunct="1">
              <a:lnSpc>
                <a:spcPct val="105000"/>
              </a:lnSpc>
              <a:spcBef>
                <a:spcPts val="400"/>
              </a:spcBef>
              <a:spcAft>
                <a:spcPts val="200"/>
              </a:spcAft>
              <a:buClr>
                <a:srgbClr val="336699"/>
              </a:buClr>
              <a:buSzPct val="95000"/>
              <a:buFont typeface="Arial" charset="0"/>
              <a:tabLst>
                <a:tab pos="7718425" algn="r"/>
              </a:tabLst>
              <a:defRPr sz="18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17525" indent="-403225" algn="l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7718425" algn="r"/>
              </a:tabLst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914400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60475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Segoe UI" pitchFamily="34" charset="0"/>
              <a:buChar char="‒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6002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Blip>
                <a:blip r:embed="rId3"/>
              </a:buBlip>
              <a:tabLst>
                <a:tab pos="7718425" algn="r"/>
              </a:tabLst>
              <a:defRPr sz="2000">
                <a:solidFill>
                  <a:schemeClr val="tx1"/>
                </a:solidFill>
                <a:latin typeface="Segoe UI" pitchFamily="34" charset="0"/>
              </a:defRPr>
            </a:lvl5pPr>
            <a:lvl6pPr marL="2057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2400" b="0" kern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3200" y="1447801"/>
            <a:ext cx="6629400" cy="5039347"/>
          </a:xfrm>
          <a:prstGeom prst="rect">
            <a:avLst/>
          </a:prstGeom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5B2EFD5-8B30-4B87-A55D-5DC107DF04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1495776"/>
              </p:ext>
            </p:extLst>
          </p:nvPr>
        </p:nvGraphicFramePr>
        <p:xfrm>
          <a:off x="9448800" y="1538898"/>
          <a:ext cx="2133602" cy="3427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914028747"/>
      </p:ext>
    </p:extLst>
  </p:cSld>
  <p:clrMapOvr>
    <a:masterClrMapping/>
  </p:clrMapOvr>
  <p:transition spd="slow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ic Breakdown Example</a:t>
            </a:r>
          </a:p>
        </p:txBody>
      </p:sp>
      <p:sp>
        <p:nvSpPr>
          <p:cNvPr id="3" name="Content Placeholder 9"/>
          <p:cNvSpPr txBox="1">
            <a:spLocks/>
          </p:cNvSpPr>
          <p:nvPr/>
        </p:nvSpPr>
        <p:spPr>
          <a:xfrm>
            <a:off x="2397891" y="1706881"/>
            <a:ext cx="7390435" cy="4365971"/>
          </a:xfrm>
          <a:prstGeom prst="rect">
            <a:avLst/>
          </a:prstGeom>
        </p:spPr>
        <p:txBody>
          <a:bodyPr anchor="t"/>
          <a:lstStyle>
            <a:lvl1pPr algn="l" rtl="0" eaLnBrk="1" fontAlgn="base" hangingPunct="1">
              <a:lnSpc>
                <a:spcPct val="105000"/>
              </a:lnSpc>
              <a:spcBef>
                <a:spcPts val="400"/>
              </a:spcBef>
              <a:spcAft>
                <a:spcPts val="200"/>
              </a:spcAft>
              <a:buClr>
                <a:srgbClr val="336699"/>
              </a:buClr>
              <a:buSzPct val="95000"/>
              <a:buFont typeface="Arial" charset="0"/>
              <a:tabLst>
                <a:tab pos="7718425" algn="r"/>
              </a:tabLst>
              <a:defRPr sz="18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17525" indent="-403225" algn="l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7718425" algn="r"/>
              </a:tabLst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914400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60475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Segoe UI" pitchFamily="34" charset="0"/>
              <a:buChar char="‒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6002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Blip>
                <a:blip r:embed="rId3"/>
              </a:buBlip>
              <a:tabLst>
                <a:tab pos="7718425" algn="r"/>
              </a:tabLst>
              <a:defRPr sz="2000">
                <a:solidFill>
                  <a:schemeClr val="tx1"/>
                </a:solidFill>
                <a:latin typeface="Segoe UI" pitchFamily="34" charset="0"/>
              </a:defRPr>
            </a:lvl5pPr>
            <a:lvl6pPr marL="2057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2400" b="0" kern="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CC762A9-140C-44D8-995E-28A3275895E7}"/>
              </a:ext>
            </a:extLst>
          </p:cNvPr>
          <p:cNvSpPr txBox="1">
            <a:spLocks/>
          </p:cNvSpPr>
          <p:nvPr/>
        </p:nvSpPr>
        <p:spPr>
          <a:xfrm>
            <a:off x="2133600" y="1570038"/>
            <a:ext cx="7848600" cy="452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pic: As a customer, I want to re-use my personal information so that I can complete my purchase quickly; </a:t>
            </a:r>
            <a:r>
              <a:rPr lang="en-US" u="sng" dirty="0"/>
              <a:t>large body of work that needs to broken down </a:t>
            </a:r>
          </a:p>
          <a:p>
            <a:r>
              <a:rPr lang="en-US" dirty="0"/>
              <a:t>User Stories includ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As a customer, I want an account creation option to select so that I can begin the process of adding my profi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As a customer, I want to add my location details so that the system knows where to ship my purcha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As a customer, I want to add my payment details so that the system can offer a quick way for me to pay for my purch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As a customer, I want to review and confirm my profile details so that I know I haven’t made a mistake</a:t>
            </a:r>
          </a:p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605681873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 Roadmap</a:t>
            </a:r>
          </a:p>
        </p:txBody>
      </p:sp>
      <p:sp>
        <p:nvSpPr>
          <p:cNvPr id="4" name="Rectangle 3"/>
          <p:cNvSpPr/>
          <p:nvPr/>
        </p:nvSpPr>
        <p:spPr>
          <a:xfrm>
            <a:off x="5312889" y="1740356"/>
            <a:ext cx="762000" cy="50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Jan</a:t>
            </a:r>
          </a:p>
        </p:txBody>
      </p:sp>
      <p:sp>
        <p:nvSpPr>
          <p:cNvPr id="5" name="Rectangle 4"/>
          <p:cNvSpPr/>
          <p:nvPr/>
        </p:nvSpPr>
        <p:spPr>
          <a:xfrm>
            <a:off x="6151088" y="1740356"/>
            <a:ext cx="762000" cy="50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Feb</a:t>
            </a:r>
          </a:p>
        </p:txBody>
      </p:sp>
      <p:sp>
        <p:nvSpPr>
          <p:cNvPr id="6" name="Rectangle 5"/>
          <p:cNvSpPr/>
          <p:nvPr/>
        </p:nvSpPr>
        <p:spPr>
          <a:xfrm>
            <a:off x="6989292" y="1740356"/>
            <a:ext cx="765957" cy="50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Mar</a:t>
            </a:r>
          </a:p>
        </p:txBody>
      </p:sp>
      <p:sp>
        <p:nvSpPr>
          <p:cNvPr id="7" name="Rectangle 6"/>
          <p:cNvSpPr/>
          <p:nvPr/>
        </p:nvSpPr>
        <p:spPr>
          <a:xfrm>
            <a:off x="7827490" y="1740356"/>
            <a:ext cx="2442357" cy="50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Quarter 2</a:t>
            </a:r>
          </a:p>
        </p:txBody>
      </p:sp>
      <p:sp>
        <p:nvSpPr>
          <p:cNvPr id="8" name="Rounded Rectangle 18"/>
          <p:cNvSpPr/>
          <p:nvPr/>
        </p:nvSpPr>
        <p:spPr>
          <a:xfrm>
            <a:off x="5312891" y="2350114"/>
            <a:ext cx="2442357" cy="1727044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ounded Rectangle 19"/>
          <p:cNvSpPr/>
          <p:nvPr/>
        </p:nvSpPr>
        <p:spPr>
          <a:xfrm>
            <a:off x="5312889" y="4280356"/>
            <a:ext cx="4956956" cy="132080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ounded Rectangle 20"/>
          <p:cNvSpPr/>
          <p:nvPr/>
        </p:nvSpPr>
        <p:spPr>
          <a:xfrm>
            <a:off x="7827488" y="2350114"/>
            <a:ext cx="2446812" cy="1727044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24"/>
          <p:cNvSpPr/>
          <p:nvPr/>
        </p:nvSpPr>
        <p:spPr>
          <a:xfrm>
            <a:off x="5427512" y="2959558"/>
            <a:ext cx="1104576" cy="361396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eature 1</a:t>
            </a:r>
          </a:p>
        </p:txBody>
      </p:sp>
      <p:sp>
        <p:nvSpPr>
          <p:cNvPr id="12" name="Rounded Rectangle 25"/>
          <p:cNvSpPr/>
          <p:nvPr/>
        </p:nvSpPr>
        <p:spPr>
          <a:xfrm>
            <a:off x="6608288" y="2964577"/>
            <a:ext cx="1066800" cy="3613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eature 2</a:t>
            </a:r>
          </a:p>
        </p:txBody>
      </p:sp>
      <p:sp>
        <p:nvSpPr>
          <p:cNvPr id="13" name="Rounded Rectangle 26"/>
          <p:cNvSpPr/>
          <p:nvPr/>
        </p:nvSpPr>
        <p:spPr>
          <a:xfrm>
            <a:off x="5922487" y="3519725"/>
            <a:ext cx="1449780" cy="3613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eature 3</a:t>
            </a:r>
          </a:p>
        </p:txBody>
      </p:sp>
      <p:sp>
        <p:nvSpPr>
          <p:cNvPr id="14" name="Rounded Rectangle 27"/>
          <p:cNvSpPr/>
          <p:nvPr/>
        </p:nvSpPr>
        <p:spPr>
          <a:xfrm>
            <a:off x="7903690" y="2959558"/>
            <a:ext cx="1989612" cy="3613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eature 3</a:t>
            </a:r>
          </a:p>
        </p:txBody>
      </p:sp>
      <p:sp>
        <p:nvSpPr>
          <p:cNvPr id="15" name="Rounded Rectangle 28"/>
          <p:cNvSpPr/>
          <p:nvPr/>
        </p:nvSpPr>
        <p:spPr>
          <a:xfrm>
            <a:off x="7903689" y="3488535"/>
            <a:ext cx="922812" cy="3613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eature 4</a:t>
            </a:r>
          </a:p>
        </p:txBody>
      </p:sp>
      <p:sp>
        <p:nvSpPr>
          <p:cNvPr id="16" name="Rounded Rectangle 29"/>
          <p:cNvSpPr/>
          <p:nvPr/>
        </p:nvSpPr>
        <p:spPr>
          <a:xfrm>
            <a:off x="8898497" y="3488535"/>
            <a:ext cx="1291195" cy="3613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eature 5</a:t>
            </a:r>
          </a:p>
        </p:txBody>
      </p:sp>
      <p:sp>
        <p:nvSpPr>
          <p:cNvPr id="17" name="Rounded Rectangle 30"/>
          <p:cNvSpPr/>
          <p:nvPr/>
        </p:nvSpPr>
        <p:spPr>
          <a:xfrm>
            <a:off x="5312891" y="2349958"/>
            <a:ext cx="2442357" cy="36139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Release Theme A</a:t>
            </a:r>
          </a:p>
        </p:txBody>
      </p:sp>
      <p:sp>
        <p:nvSpPr>
          <p:cNvPr id="18" name="Rounded Rectangle 31"/>
          <p:cNvSpPr/>
          <p:nvPr/>
        </p:nvSpPr>
        <p:spPr>
          <a:xfrm>
            <a:off x="7827490" y="2350114"/>
            <a:ext cx="2442357" cy="36139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Release Theme B</a:t>
            </a:r>
          </a:p>
        </p:txBody>
      </p:sp>
      <p:sp>
        <p:nvSpPr>
          <p:cNvPr id="19" name="Rounded Rectangle 32"/>
          <p:cNvSpPr/>
          <p:nvPr/>
        </p:nvSpPr>
        <p:spPr>
          <a:xfrm>
            <a:off x="8513288" y="4426962"/>
            <a:ext cx="1219200" cy="3613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ress Release</a:t>
            </a:r>
          </a:p>
        </p:txBody>
      </p:sp>
      <p:sp>
        <p:nvSpPr>
          <p:cNvPr id="20" name="Rounded Rectangle 33"/>
          <p:cNvSpPr/>
          <p:nvPr/>
        </p:nvSpPr>
        <p:spPr>
          <a:xfrm>
            <a:off x="8513289" y="4978658"/>
            <a:ext cx="1676400" cy="3613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Media Campaign</a:t>
            </a:r>
          </a:p>
        </p:txBody>
      </p:sp>
      <p:sp>
        <p:nvSpPr>
          <p:cNvPr id="21" name="Rounded Rectangle 34"/>
          <p:cNvSpPr/>
          <p:nvPr/>
        </p:nvSpPr>
        <p:spPr>
          <a:xfrm>
            <a:off x="6379690" y="4426962"/>
            <a:ext cx="1989612" cy="3613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tnerships </a:t>
            </a:r>
          </a:p>
        </p:txBody>
      </p:sp>
      <p:sp>
        <p:nvSpPr>
          <p:cNvPr id="22" name="Rounded Rectangle 35"/>
          <p:cNvSpPr/>
          <p:nvPr/>
        </p:nvSpPr>
        <p:spPr>
          <a:xfrm>
            <a:off x="5427513" y="4991558"/>
            <a:ext cx="1561774" cy="3613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Market Research</a:t>
            </a:r>
          </a:p>
        </p:txBody>
      </p:sp>
      <p:sp>
        <p:nvSpPr>
          <p:cNvPr id="23" name="TextBox 22"/>
          <p:cNvSpPr txBox="1"/>
          <p:nvPr/>
        </p:nvSpPr>
        <p:spPr>
          <a:xfrm rot="16200000">
            <a:off x="4447606" y="3116514"/>
            <a:ext cx="1317990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200" dirty="0"/>
              <a:t>Product Delivery</a:t>
            </a:r>
          </a:p>
        </p:txBody>
      </p:sp>
      <p:sp>
        <p:nvSpPr>
          <p:cNvPr id="24" name="TextBox 23"/>
          <p:cNvSpPr txBox="1"/>
          <p:nvPr/>
        </p:nvSpPr>
        <p:spPr>
          <a:xfrm rot="16200000">
            <a:off x="4670701" y="4802259"/>
            <a:ext cx="899605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200" dirty="0"/>
              <a:t>Marketing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162" y="1740357"/>
            <a:ext cx="2803444" cy="3997859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AC6FFEA1-FBAB-4B9D-9FF9-C4DCC609A712}"/>
              </a:ext>
            </a:extLst>
          </p:cNvPr>
          <p:cNvSpPr/>
          <p:nvPr/>
        </p:nvSpPr>
        <p:spPr>
          <a:xfrm>
            <a:off x="9972282" y="5928224"/>
            <a:ext cx="275897" cy="409904"/>
          </a:xfrm>
          <a:prstGeom prst="rect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7EF0D43-0EC7-4EDD-AD71-3E89E7AA0DEF}"/>
              </a:ext>
            </a:extLst>
          </p:cNvPr>
          <p:cNvSpPr/>
          <p:nvPr/>
        </p:nvSpPr>
        <p:spPr>
          <a:xfrm>
            <a:off x="8868611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4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354875A-5A16-4A39-9AC2-0BB0D8C8FEE4}"/>
              </a:ext>
            </a:extLst>
          </p:cNvPr>
          <p:cNvSpPr/>
          <p:nvPr/>
        </p:nvSpPr>
        <p:spPr>
          <a:xfrm>
            <a:off x="9142608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3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D9D9BCF-5274-4D8C-B113-C33662204F52}"/>
              </a:ext>
            </a:extLst>
          </p:cNvPr>
          <p:cNvSpPr/>
          <p:nvPr/>
        </p:nvSpPr>
        <p:spPr>
          <a:xfrm>
            <a:off x="9416605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2</a:t>
            </a:r>
          </a:p>
        </p:txBody>
      </p:sp>
      <p:pic>
        <p:nvPicPr>
          <p:cNvPr id="30" name="Picture 29" descr="A watch on a white surface&#10;&#10;Description generated with very high confidence">
            <a:extLst>
              <a:ext uri="{FF2B5EF4-FFF2-40B4-BE49-F238E27FC236}">
                <a16:creationId xmlns:a16="http://schemas.microsoft.com/office/drawing/2014/main" id="{832715F2-5A0E-46A9-9E93-55108BFCD3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247" y="5738216"/>
            <a:ext cx="569378" cy="759171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44F7C23-FD6D-43E0-8761-AD01FBA7ED6B}"/>
              </a:ext>
            </a:extLst>
          </p:cNvPr>
          <p:cNvSpPr/>
          <p:nvPr/>
        </p:nvSpPr>
        <p:spPr>
          <a:xfrm>
            <a:off x="7070192" y="5928224"/>
            <a:ext cx="440039" cy="409904"/>
          </a:xfrm>
          <a:prstGeom prst="rect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1600" dirty="0"/>
              <a:t>1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ACF3F62-8CEB-43DC-9D8D-39D70D524141}"/>
              </a:ext>
            </a:extLst>
          </p:cNvPr>
          <p:cNvSpPr txBox="1"/>
          <p:nvPr/>
        </p:nvSpPr>
        <p:spPr>
          <a:xfrm>
            <a:off x="10248177" y="5881833"/>
            <a:ext cx="2712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92D050"/>
                </a:solidFill>
              </a:rPr>
              <a:t>*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5FB7A4C-7FE7-4835-AB53-8C7D861B05B2}"/>
              </a:ext>
            </a:extLst>
          </p:cNvPr>
          <p:cNvSpPr/>
          <p:nvPr/>
        </p:nvSpPr>
        <p:spPr>
          <a:xfrm>
            <a:off x="9693029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83D8C46-7CFC-481C-8E86-48D4DB119B55}"/>
              </a:ext>
            </a:extLst>
          </p:cNvPr>
          <p:cNvSpPr/>
          <p:nvPr/>
        </p:nvSpPr>
        <p:spPr>
          <a:xfrm>
            <a:off x="8594897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5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6F31A3A-3CCB-4BDE-B5F9-1118A4A58EC5}"/>
              </a:ext>
            </a:extLst>
          </p:cNvPr>
          <p:cNvSpPr/>
          <p:nvPr/>
        </p:nvSpPr>
        <p:spPr>
          <a:xfrm>
            <a:off x="8328579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6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8A8F4C3-5E33-4D8B-A260-BFD9736914FA}"/>
              </a:ext>
            </a:extLst>
          </p:cNvPr>
          <p:cNvSpPr/>
          <p:nvPr/>
        </p:nvSpPr>
        <p:spPr>
          <a:xfrm>
            <a:off x="8050576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7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AF3F228-1324-42C6-809B-4A82C2F34282}"/>
              </a:ext>
            </a:extLst>
          </p:cNvPr>
          <p:cNvSpPr/>
          <p:nvPr/>
        </p:nvSpPr>
        <p:spPr>
          <a:xfrm>
            <a:off x="7788549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8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A058DC2-5F9C-4B5C-8435-7263933C119F}"/>
              </a:ext>
            </a:extLst>
          </p:cNvPr>
          <p:cNvSpPr/>
          <p:nvPr/>
        </p:nvSpPr>
        <p:spPr>
          <a:xfrm>
            <a:off x="7525263" y="5928224"/>
            <a:ext cx="275897" cy="4099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200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074490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1" presetClass="entr" presetSubtype="1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59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0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59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00"/>
                            </p:stCondLst>
                            <p:childTnLst>
                              <p:par>
                                <p:cTn id="17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59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80000"/>
                            </p:stCondLst>
                            <p:childTnLst>
                              <p:par>
                                <p:cTn id="21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59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40000"/>
                            </p:stCondLst>
                            <p:childTnLst>
                              <p:par>
                                <p:cTn id="25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59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00"/>
                            </p:stCondLst>
                            <p:childTnLst>
                              <p:par>
                                <p:cTn id="29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1" dur="59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60000"/>
                            </p:stCondLst>
                            <p:childTnLst>
                              <p:par>
                                <p:cTn id="33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" dur="59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20000"/>
                            </p:stCondLst>
                            <p:childTnLst>
                              <p:par>
                                <p:cTn id="37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" dur="59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80000"/>
                            </p:stCondLst>
                            <p:childTnLst>
                              <p:par>
                                <p:cTn id="41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3" dur="59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40000"/>
                            </p:stCondLst>
                            <p:childTnLst>
                              <p:par>
                                <p:cTn id="45" presetID="21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59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00"/>
                            </p:stCondLst>
                            <p:childTnLst>
                              <p:par>
                                <p:cTn id="49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600000"/>
                            </p:stCondLst>
                            <p:childTnLst>
                              <p:par>
                                <p:cTn id="52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3" dur="250" autoRev="1" fill="remove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4" dur="250" autoRev="1" fill="remove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5" dur="250" autoRev="1" fill="remove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6" dur="250" autoRev="1" fill="remove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  <p:bldP spid="29" grpId="0" animBg="1"/>
      <p:bldP spid="31" grpId="0" animBg="1"/>
      <p:bldP spid="32" grpId="0"/>
      <p:bldP spid="32" grpId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User Story?</a:t>
            </a:r>
          </a:p>
        </p:txBody>
      </p:sp>
      <p:sp>
        <p:nvSpPr>
          <p:cNvPr id="3" name="Content Placeholder 9"/>
          <p:cNvSpPr txBox="1">
            <a:spLocks/>
          </p:cNvSpPr>
          <p:nvPr/>
        </p:nvSpPr>
        <p:spPr>
          <a:xfrm>
            <a:off x="2397891" y="1706881"/>
            <a:ext cx="7390435" cy="4365971"/>
          </a:xfrm>
          <a:prstGeom prst="rect">
            <a:avLst/>
          </a:prstGeom>
        </p:spPr>
        <p:txBody>
          <a:bodyPr anchor="t"/>
          <a:lstStyle>
            <a:lvl1pPr algn="l" rtl="0" eaLnBrk="1" fontAlgn="base" hangingPunct="1">
              <a:lnSpc>
                <a:spcPct val="105000"/>
              </a:lnSpc>
              <a:spcBef>
                <a:spcPts val="400"/>
              </a:spcBef>
              <a:spcAft>
                <a:spcPts val="200"/>
              </a:spcAft>
              <a:buClr>
                <a:srgbClr val="336699"/>
              </a:buClr>
              <a:buSzPct val="95000"/>
              <a:buFont typeface="Arial" charset="0"/>
              <a:tabLst>
                <a:tab pos="7718425" algn="r"/>
              </a:tabLst>
              <a:defRPr sz="18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17525" indent="-403225" algn="l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7718425" algn="r"/>
              </a:tabLst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914400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60475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Segoe UI" pitchFamily="34" charset="0"/>
              <a:buChar char="‒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6002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Blip>
                <a:blip r:embed="rId3"/>
              </a:buBlip>
              <a:tabLst>
                <a:tab pos="7718425" algn="r"/>
              </a:tabLst>
              <a:defRPr sz="2000">
                <a:solidFill>
                  <a:schemeClr val="tx1"/>
                </a:solidFill>
                <a:latin typeface="Segoe UI" pitchFamily="34" charset="0"/>
              </a:defRPr>
            </a:lvl5pPr>
            <a:lvl6pPr marL="2057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2400" b="0" kern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0D9328-3A52-4128-9C18-D799FE2E1AB1}"/>
              </a:ext>
            </a:extLst>
          </p:cNvPr>
          <p:cNvSpPr/>
          <p:nvPr/>
        </p:nvSpPr>
        <p:spPr>
          <a:xfrm>
            <a:off x="2286000" y="1859341"/>
            <a:ext cx="7772400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2400" b="1" dirty="0"/>
              <a:t>A User Story is a form of requirement:</a:t>
            </a:r>
          </a:p>
          <a:p>
            <a:endParaRPr lang="en-US" sz="1100" dirty="0"/>
          </a:p>
          <a:p>
            <a:r>
              <a:rPr lang="en-US" sz="2000" dirty="0"/>
              <a:t>It is written in such a way to give an overview of a system function and the outcome (value) the user expects to receive from the function.</a:t>
            </a:r>
          </a:p>
          <a:p>
            <a:endParaRPr lang="en-CA" sz="2000" dirty="0"/>
          </a:p>
          <a:p>
            <a:r>
              <a:rPr lang="en-CA" sz="2400" b="1" dirty="0"/>
              <a:t>3 aspects of user stories:</a:t>
            </a:r>
          </a:p>
          <a:p>
            <a:endParaRPr lang="en-CA" sz="1100" b="1" dirty="0"/>
          </a:p>
          <a:p>
            <a:pPr marL="457200" indent="-457200">
              <a:buFont typeface="+mj-lt"/>
              <a:buAutoNum type="arabicPeriod"/>
            </a:pPr>
            <a:r>
              <a:rPr lang="en-CA" sz="2000" i="1" dirty="0"/>
              <a:t>Card</a:t>
            </a:r>
            <a:r>
              <a:rPr lang="en-CA" sz="2000" dirty="0"/>
              <a:t>: A written description </a:t>
            </a:r>
          </a:p>
          <a:p>
            <a:pPr marL="457200" indent="-457200">
              <a:buFont typeface="+mj-lt"/>
              <a:buAutoNum type="arabicPeriod"/>
            </a:pPr>
            <a:r>
              <a:rPr lang="en-CA" sz="2000" i="1" dirty="0"/>
              <a:t>Conversation</a:t>
            </a:r>
            <a:r>
              <a:rPr lang="en-CA" sz="2000" dirty="0"/>
              <a:t>: Conversations about the story to clarify it and flesh out the details</a:t>
            </a:r>
          </a:p>
          <a:p>
            <a:pPr marL="457200" indent="-457200">
              <a:buFont typeface="+mj-lt"/>
              <a:buAutoNum type="arabicPeriod"/>
            </a:pPr>
            <a:r>
              <a:rPr lang="en-CA" sz="2000" i="1" dirty="0"/>
              <a:t>Confirmation</a:t>
            </a:r>
            <a:r>
              <a:rPr lang="en-CA" sz="2000" dirty="0"/>
              <a:t>: Criteria that can be used to determine when the story is complet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CA" sz="2000" dirty="0"/>
          </a:p>
          <a:p>
            <a:pPr algn="ctr"/>
            <a:r>
              <a:rPr lang="en-CA" sz="2000" b="1" i="1" dirty="0"/>
              <a:t>A User story is a promise for a conversation.</a:t>
            </a:r>
          </a:p>
        </p:txBody>
      </p:sp>
    </p:spTree>
    <p:extLst>
      <p:ext uri="{BB962C8B-B14F-4D97-AF65-F5344CB8AC3E}">
        <p14:creationId xmlns:p14="http://schemas.microsoft.com/office/powerpoint/2010/main" val="2255649205"/>
      </p:ext>
    </p:extLst>
  </p:cSld>
  <p:clrMapOvr>
    <a:masterClrMapping/>
  </p:clrMapOvr>
  <p:transition spd="slow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Story Format</a:t>
            </a:r>
          </a:p>
        </p:txBody>
      </p:sp>
      <p:sp>
        <p:nvSpPr>
          <p:cNvPr id="3" name="Content Placeholder 9"/>
          <p:cNvSpPr txBox="1">
            <a:spLocks/>
          </p:cNvSpPr>
          <p:nvPr/>
        </p:nvSpPr>
        <p:spPr>
          <a:xfrm>
            <a:off x="2397891" y="1706881"/>
            <a:ext cx="7390435" cy="4365971"/>
          </a:xfrm>
          <a:prstGeom prst="rect">
            <a:avLst/>
          </a:prstGeom>
        </p:spPr>
        <p:txBody>
          <a:bodyPr anchor="t"/>
          <a:lstStyle>
            <a:lvl1pPr algn="l" rtl="0" eaLnBrk="1" fontAlgn="base" hangingPunct="1">
              <a:lnSpc>
                <a:spcPct val="105000"/>
              </a:lnSpc>
              <a:spcBef>
                <a:spcPts val="400"/>
              </a:spcBef>
              <a:spcAft>
                <a:spcPts val="200"/>
              </a:spcAft>
              <a:buClr>
                <a:srgbClr val="336699"/>
              </a:buClr>
              <a:buSzPct val="95000"/>
              <a:buFont typeface="Arial" charset="0"/>
              <a:tabLst>
                <a:tab pos="7718425" algn="r"/>
              </a:tabLst>
              <a:defRPr sz="18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17525" indent="-403225" algn="l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7718425" algn="r"/>
              </a:tabLst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914400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60475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Segoe UI" pitchFamily="34" charset="0"/>
              <a:buChar char="‒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6002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Blip>
                <a:blip r:embed="rId3"/>
              </a:buBlip>
              <a:tabLst>
                <a:tab pos="7718425" algn="r"/>
              </a:tabLst>
              <a:defRPr sz="2000">
                <a:solidFill>
                  <a:schemeClr val="tx1"/>
                </a:solidFill>
                <a:latin typeface="Segoe UI" pitchFamily="34" charset="0"/>
              </a:defRPr>
            </a:lvl5pPr>
            <a:lvl6pPr marL="2057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2400" b="0" kern="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4394DEF-3A59-4017-A91D-13B2D47D4D6D}"/>
              </a:ext>
            </a:extLst>
          </p:cNvPr>
          <p:cNvSpPr txBox="1">
            <a:spLocks/>
          </p:cNvSpPr>
          <p:nvPr/>
        </p:nvSpPr>
        <p:spPr>
          <a:xfrm>
            <a:off x="2133600" y="1570038"/>
            <a:ext cx="784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A user story is written in three parts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200" b="0" dirty="0"/>
              <a:t>Role – the user role for the story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200" b="0" dirty="0"/>
              <a:t>Goal – what the user is trying to accomplish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200" b="0" dirty="0"/>
              <a:t>Benefit – why the user wants to accomplish it</a:t>
            </a:r>
          </a:p>
          <a:p>
            <a:endParaRPr lang="en-US" sz="2200" b="0" dirty="0"/>
          </a:p>
          <a:p>
            <a:endParaRPr lang="en-US" sz="2200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421A249-755A-453E-9EE7-44CA35D3352C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20479089">
            <a:off x="6885802" y="3871014"/>
            <a:ext cx="3206202" cy="200918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31310869"/>
      </p:ext>
    </p:extLst>
  </p:cSld>
  <p:clrMapOvr>
    <a:masterClrMapping/>
  </p:clrMapOvr>
  <p:transition spd="slow"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Story Examples</a:t>
            </a:r>
          </a:p>
        </p:txBody>
      </p:sp>
      <p:sp>
        <p:nvSpPr>
          <p:cNvPr id="3" name="Content Placeholder 9"/>
          <p:cNvSpPr txBox="1">
            <a:spLocks/>
          </p:cNvSpPr>
          <p:nvPr/>
        </p:nvSpPr>
        <p:spPr>
          <a:xfrm>
            <a:off x="2397891" y="1706881"/>
            <a:ext cx="7390435" cy="4365971"/>
          </a:xfrm>
          <a:prstGeom prst="rect">
            <a:avLst/>
          </a:prstGeom>
        </p:spPr>
        <p:txBody>
          <a:bodyPr anchor="t"/>
          <a:lstStyle>
            <a:lvl1pPr algn="l" rtl="0" eaLnBrk="1" fontAlgn="base" hangingPunct="1">
              <a:lnSpc>
                <a:spcPct val="105000"/>
              </a:lnSpc>
              <a:spcBef>
                <a:spcPts val="400"/>
              </a:spcBef>
              <a:spcAft>
                <a:spcPts val="200"/>
              </a:spcAft>
              <a:buClr>
                <a:srgbClr val="336699"/>
              </a:buClr>
              <a:buSzPct val="95000"/>
              <a:buFont typeface="Arial" charset="0"/>
              <a:tabLst>
                <a:tab pos="7718425" algn="r"/>
              </a:tabLst>
              <a:defRPr sz="18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17525" indent="-403225" algn="l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7718425" algn="r"/>
              </a:tabLst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914400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60475" indent="-231775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Segoe UI" pitchFamily="34" charset="0"/>
              <a:buChar char="‒"/>
              <a:tabLst>
                <a:tab pos="7718425" algn="r"/>
              </a:tabLst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6002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Blip>
                <a:blip r:embed="rId3"/>
              </a:buBlip>
              <a:tabLst>
                <a:tab pos="7718425" algn="r"/>
              </a:tabLst>
              <a:defRPr sz="2000">
                <a:solidFill>
                  <a:schemeClr val="tx1"/>
                </a:solidFill>
                <a:latin typeface="Segoe UI" pitchFamily="34" charset="0"/>
              </a:defRPr>
            </a:lvl5pPr>
            <a:lvl6pPr marL="2057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Pct val="100000"/>
              <a:buChar char="•"/>
              <a:tabLst>
                <a:tab pos="7718425" algn="r"/>
              </a:tabLs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2400" b="0" kern="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4732BC7-66DD-4BA5-9AE5-4BE3CF09398D}"/>
              </a:ext>
            </a:extLst>
          </p:cNvPr>
          <p:cNvSpPr txBox="1">
            <a:spLocks/>
          </p:cNvSpPr>
          <p:nvPr/>
        </p:nvSpPr>
        <p:spPr>
          <a:xfrm>
            <a:off x="2133600" y="1570038"/>
            <a:ext cx="784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Example 1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0" dirty="0"/>
              <a:t>As a customer, I want to create a profile so that I can have an account</a:t>
            </a:r>
          </a:p>
          <a:p>
            <a:r>
              <a:rPr lang="en-US" sz="2200" dirty="0"/>
              <a:t>Example 2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0" dirty="0"/>
              <a:t>As a customer, I want to create a profile so that I don’t have to fill in the information again when I make a purchase</a:t>
            </a:r>
          </a:p>
          <a:p>
            <a:r>
              <a:rPr lang="en-US" sz="2200" dirty="0"/>
              <a:t>Example 3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0" dirty="0"/>
              <a:t>As an administrator, I want to create a list of received orders so that I can pack and ship them</a:t>
            </a:r>
          </a:p>
        </p:txBody>
      </p:sp>
    </p:spTree>
    <p:extLst>
      <p:ext uri="{BB962C8B-B14F-4D97-AF65-F5344CB8AC3E}">
        <p14:creationId xmlns:p14="http://schemas.microsoft.com/office/powerpoint/2010/main" val="2869821816"/>
      </p:ext>
    </p:extLst>
  </p:cSld>
  <p:clrMapOvr>
    <a:masterClrMapping/>
  </p:clrMapOvr>
  <p:transition spd="slow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336BB-4180-4EA2-A1A1-EB718F926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Sto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C5F132-A10D-43B3-AD4A-FB7C0E664470}"/>
              </a:ext>
            </a:extLst>
          </p:cNvPr>
          <p:cNvSpPr txBox="1">
            <a:spLocks/>
          </p:cNvSpPr>
          <p:nvPr/>
        </p:nvSpPr>
        <p:spPr>
          <a:xfrm>
            <a:off x="5257800" y="1570038"/>
            <a:ext cx="47244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User Request</a:t>
            </a:r>
            <a:r>
              <a:rPr lang="en-US" sz="2200" b="0" dirty="0"/>
              <a:t>: Something that benefits the user directly, or enables a future benefi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Spike</a:t>
            </a:r>
            <a:r>
              <a:rPr lang="en-US" sz="2200" b="0" dirty="0"/>
              <a:t>: Research, prototype, risk reduction, knowledge acquisi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Technical Debt</a:t>
            </a:r>
            <a:r>
              <a:rPr lang="en-US" sz="2200" b="0" dirty="0"/>
              <a:t>: Things we should have done correctly the first time, but likely took a shortcut to meet a deadline</a:t>
            </a:r>
          </a:p>
        </p:txBody>
      </p:sp>
      <p:pic>
        <p:nvPicPr>
          <p:cNvPr id="5" name="Picture 4" descr="A picture containing LEGO, toy&#10;&#10;Description automatically generated">
            <a:extLst>
              <a:ext uri="{FF2B5EF4-FFF2-40B4-BE49-F238E27FC236}">
                <a16:creationId xmlns:a16="http://schemas.microsoft.com/office/drawing/2014/main" id="{572E3A26-464D-4A13-BE5D-AD244EB542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867" y="2499518"/>
            <a:ext cx="3556000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887048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Improv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2213" y="1632550"/>
            <a:ext cx="6597870" cy="4925907"/>
          </a:xfrm>
        </p:spPr>
        <p:txBody>
          <a:bodyPr/>
          <a:lstStyle/>
          <a:p>
            <a:pPr marL="285750" indent="-285750">
              <a:spcBef>
                <a:spcPts val="0"/>
              </a:spcBef>
              <a:buClr>
                <a:schemeClr val="accent2">
                  <a:lumMod val="50000"/>
                </a:schemeClr>
              </a:buClr>
            </a:pPr>
            <a:r>
              <a:rPr lang="en-US" b="0" dirty="0"/>
              <a:t>Remember our Agile Manifesto principle:</a:t>
            </a:r>
          </a:p>
          <a:p>
            <a:pPr marL="628650" lvl="1" indent="-285750">
              <a:spcBef>
                <a:spcPts val="0"/>
              </a:spcBef>
              <a:buClr>
                <a:schemeClr val="accent2">
                  <a:lumMod val="50000"/>
                </a:schemeClr>
              </a:buClr>
            </a:pPr>
            <a:r>
              <a:rPr lang="en-US" i="1" dirty="0">
                <a:solidFill>
                  <a:srgbClr val="339BF6"/>
                </a:solidFill>
              </a:rPr>
              <a:t>At regular intervals, the team reflects on how to become more effective, then tunes and adjusts its behavior accordingly</a:t>
            </a:r>
          </a:p>
          <a:p>
            <a:pPr marL="285750" indent="-285750">
              <a:spcAft>
                <a:spcPts val="450"/>
              </a:spcAft>
              <a:buClr>
                <a:schemeClr val="accent2">
                  <a:lumMod val="50000"/>
                </a:schemeClr>
              </a:buClr>
            </a:pPr>
            <a:r>
              <a:rPr lang="en-US" b="0" dirty="0"/>
              <a:t>This is not just about a Retrospective at the end of a timebox; it refers to the </a:t>
            </a:r>
            <a:r>
              <a:rPr lang="en-US" b="1" u="sng" dirty="0"/>
              <a:t>continuous improvement </a:t>
            </a:r>
            <a:r>
              <a:rPr lang="en-US" b="0" dirty="0"/>
              <a:t>nature of any Lean or Agile process</a:t>
            </a:r>
          </a:p>
          <a:p>
            <a:pPr marL="285750" indent="-285750">
              <a:spcAft>
                <a:spcPts val="450"/>
              </a:spcAft>
              <a:buClr>
                <a:schemeClr val="accent2">
                  <a:lumMod val="50000"/>
                </a:schemeClr>
              </a:buClr>
            </a:pPr>
            <a:r>
              <a:rPr lang="en-US" b="0" dirty="0"/>
              <a:t>The Team gets to look at what is working with the current process, what is not working, and then makes adjustments that they can immediately put into practice</a:t>
            </a:r>
          </a:p>
          <a:p>
            <a:pPr marL="285750" indent="-285750">
              <a:spcAft>
                <a:spcPts val="450"/>
              </a:spcAft>
              <a:buClr>
                <a:schemeClr val="accent2">
                  <a:lumMod val="50000"/>
                </a:schemeClr>
              </a:buClr>
            </a:pPr>
            <a:r>
              <a:rPr lang="en-US" b="0" dirty="0"/>
              <a:t>In order to continue providing value to our customers and clients, it is important that we continue to re-evaluate ourselves as well</a:t>
            </a:r>
          </a:p>
          <a:p>
            <a:endParaRPr lang="en-US" sz="28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7193" y="1981200"/>
            <a:ext cx="1298496" cy="3200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627187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ptance Criteria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AA8BE77-51D9-49C1-AA90-85E77C9478D3}"/>
              </a:ext>
            </a:extLst>
          </p:cNvPr>
          <p:cNvSpPr txBox="1">
            <a:spLocks/>
          </p:cNvSpPr>
          <p:nvPr/>
        </p:nvSpPr>
        <p:spPr>
          <a:xfrm>
            <a:off x="2133600" y="1570038"/>
            <a:ext cx="7848600" cy="45259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Acceptance criteria for a user story provide the criteria to determine if the story has </a:t>
            </a:r>
            <a:r>
              <a:rPr lang="en-US" u="sng" dirty="0"/>
              <a:t>been correctly and fully implemented</a:t>
            </a:r>
            <a:r>
              <a:rPr lang="en-US" b="0" dirty="0"/>
              <a:t>.</a:t>
            </a:r>
          </a:p>
          <a:p>
            <a:r>
              <a:rPr lang="en-US" b="0" dirty="0"/>
              <a:t>Acceptance criteria provide guidance to the developers to understand how their solution should satisfy the user’s objectives.</a:t>
            </a:r>
          </a:p>
          <a:p>
            <a:r>
              <a:rPr lang="en-US" b="0" dirty="0"/>
              <a:t>They convey the customer’s expectations.</a:t>
            </a:r>
          </a:p>
          <a:p>
            <a:pPr marL="457200" lvl="1" indent="0">
              <a:buNone/>
            </a:pPr>
            <a:r>
              <a:rPr lang="en-US" dirty="0"/>
              <a:t>Given &lt;a condition&gt;</a:t>
            </a:r>
          </a:p>
          <a:p>
            <a:pPr marL="457200" lvl="1" indent="0">
              <a:buNone/>
            </a:pPr>
            <a:r>
              <a:rPr lang="en-US" dirty="0"/>
              <a:t>When I &lt;perform an action&gt;</a:t>
            </a:r>
          </a:p>
          <a:p>
            <a:pPr marL="457200" lvl="1" indent="0">
              <a:buNone/>
            </a:pPr>
            <a:r>
              <a:rPr lang="en-US" dirty="0"/>
              <a:t>Then I expect &lt;the result&gt;</a:t>
            </a:r>
          </a:p>
          <a:p>
            <a:endParaRPr lang="en-US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A28D8E-E01A-4A19-A361-0DCB52FECC7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559" y="3259667"/>
            <a:ext cx="4464441" cy="3197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4919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731" y="334729"/>
            <a:ext cx="9585848" cy="914400"/>
          </a:xfrm>
        </p:spPr>
        <p:txBody>
          <a:bodyPr>
            <a:normAutofit fontScale="90000"/>
          </a:bodyPr>
          <a:lstStyle/>
          <a:p>
            <a:r>
              <a:rPr lang="en-US" dirty="0"/>
              <a:t>Definition of Ready (Team doesn’t work on a story until…)</a:t>
            </a:r>
            <a:br>
              <a:rPr lang="en-US" dirty="0"/>
            </a:br>
            <a:r>
              <a:rPr lang="en-US" dirty="0"/>
              <a:t>and Definition of Done (Story is NOT done until…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1835497" y="1349466"/>
            <a:ext cx="4023360" cy="5014915"/>
          </a:xfrm>
        </p:spPr>
        <p:txBody>
          <a:bodyPr/>
          <a:lstStyle/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3109657" y="1550140"/>
            <a:ext cx="5944115" cy="48772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7621CF2-62C6-4864-AF56-477C76B250FC}"/>
              </a:ext>
            </a:extLst>
          </p:cNvPr>
          <p:cNvSpPr txBox="1"/>
          <p:nvPr/>
        </p:nvSpPr>
        <p:spPr>
          <a:xfrm>
            <a:off x="9227762" y="2163847"/>
            <a:ext cx="2352311" cy="212365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0" rtlCol="0">
            <a:spAutoFit/>
          </a:bodyPr>
          <a:lstStyle/>
          <a:p>
            <a:pPr algn="l"/>
            <a:r>
              <a:rPr lang="en-US" sz="1200" b="1" spc="200" dirty="0">
                <a:latin typeface="Value Sans Pro"/>
              </a:rPr>
              <a:t>Definition Ready Examples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spc="200" dirty="0">
                <a:latin typeface="Value Sans Pro"/>
              </a:rPr>
              <a:t>Story has Acceptance Criteria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spc="200" dirty="0">
                <a:latin typeface="Value Sans Pro"/>
              </a:rPr>
              <a:t>Story has been estimated by entire team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spc="200" dirty="0">
                <a:latin typeface="Value Sans Pro"/>
              </a:rPr>
              <a:t>Story has been socialized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b="1" spc="200" dirty="0">
              <a:latin typeface="Value Sans Pro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b="1" spc="200" dirty="0">
              <a:latin typeface="Value Sans Pro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32A5D7-4C30-46AC-A21A-1386CA5755FE}"/>
              </a:ext>
            </a:extLst>
          </p:cNvPr>
          <p:cNvSpPr txBox="1"/>
          <p:nvPr/>
        </p:nvSpPr>
        <p:spPr>
          <a:xfrm>
            <a:off x="9227762" y="4359385"/>
            <a:ext cx="2352311" cy="19389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0" rtlCol="0">
            <a:spAutoFit/>
          </a:bodyPr>
          <a:lstStyle/>
          <a:p>
            <a:pPr algn="l"/>
            <a:r>
              <a:rPr lang="en-US" sz="1200" b="1" spc="200" dirty="0">
                <a:latin typeface="Value Sans Pro"/>
              </a:rPr>
              <a:t>Definition of Done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spc="200" dirty="0">
                <a:latin typeface="Value Sans Pro"/>
              </a:rPr>
              <a:t>Story has met its Acceptance Criteria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spc="200" dirty="0">
                <a:latin typeface="Value Sans Pro"/>
              </a:rPr>
              <a:t>Passed QA testi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spc="200" dirty="0">
                <a:latin typeface="Value Sans Pro"/>
              </a:rPr>
              <a:t>Accepted by Product Owner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spc="200" dirty="0">
                <a:latin typeface="Value Sans Pro"/>
              </a:rPr>
              <a:t>Held demo to stakeholder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b="1" spc="200" dirty="0">
              <a:latin typeface="Value Sans Pro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b="1" spc="200" dirty="0">
              <a:latin typeface="Valu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4135118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dering the Backlo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164082" y="1452075"/>
            <a:ext cx="8140755" cy="4652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Initially, the Product Backlog should be ordered by </a:t>
            </a:r>
            <a:r>
              <a:rPr lang="en-US" sz="1600" b="1" u="sng" dirty="0"/>
              <a:t>Business Value </a:t>
            </a:r>
            <a:r>
              <a:rPr lang="en-US" sz="1600" dirty="0"/>
              <a:t>by the Product Owner, prior to Release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usiness Value is subjective in nature:</a:t>
            </a:r>
          </a:p>
          <a:p>
            <a:pPr marL="628650" lvl="1" indent="-28575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Calibri" pitchFamily="34" charset="0"/>
              </a:rPr>
              <a:t>Revenue it could drive</a:t>
            </a:r>
          </a:p>
          <a:p>
            <a:pPr marL="628650" lvl="1" indent="-28575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Calibri" pitchFamily="34" charset="0"/>
              </a:rPr>
              <a:t>Demand from oversight institutions</a:t>
            </a:r>
          </a:p>
          <a:p>
            <a:pPr marL="628650" lvl="1" indent="-28575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Calibri" pitchFamily="34" charset="0"/>
              </a:rPr>
              <a:t>Demand from prospects</a:t>
            </a:r>
          </a:p>
          <a:p>
            <a:pPr marL="628650" lvl="1" indent="-28575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Calibri" pitchFamily="34" charset="0"/>
              </a:rPr>
              <a:t>Importance to end users</a:t>
            </a:r>
          </a:p>
          <a:p>
            <a:pPr marL="628650" lvl="1" indent="-28575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Calibri" pitchFamily="34" charset="0"/>
              </a:rPr>
              <a:t>Frequency of use</a:t>
            </a:r>
          </a:p>
          <a:p>
            <a:pPr marL="628650" lvl="1" indent="-28575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Calibri" pitchFamily="34" charset="0"/>
              </a:rPr>
              <a:t>Risk of not having the feature</a:t>
            </a:r>
          </a:p>
          <a:p>
            <a:pPr marL="628650" lvl="1" indent="-28575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Calibri" pitchFamily="34" charset="0"/>
              </a:rPr>
              <a:t>Building of core capabilities</a:t>
            </a:r>
          </a:p>
          <a:p>
            <a:pPr marL="628650" lvl="1" indent="-28575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Calibri" pitchFamily="34" charset="0"/>
              </a:rPr>
              <a:t>Alignment to strategy</a:t>
            </a:r>
          </a:p>
          <a:p>
            <a:pPr marL="285750" indent="-285750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Calibri" pitchFamily="34" charset="0"/>
              </a:rPr>
              <a:t>Methodologies:</a:t>
            </a:r>
            <a:endParaRPr lang="en-US" sz="1600" dirty="0"/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Fire Alarm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Financial Criteria (NPV, ROI, etc.)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MoSCoW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Kano Analysis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eighted Shortest Job First (WSJF)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isk Adjusted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7017" y="2483152"/>
            <a:ext cx="1844132" cy="34758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02337878"/>
      </p:ext>
    </p:extLst>
  </p:cSld>
  <p:clrMapOvr>
    <a:masterClrMapping/>
  </p:clrMapOvr>
  <p:transition spd="slow">
    <p:wip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tegoriza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45219" y="4327770"/>
            <a:ext cx="441980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Kano Analysis:</a:t>
            </a:r>
          </a:p>
          <a:p>
            <a:pPr marL="600075" lvl="1" indent="-257175">
              <a:buClr>
                <a:schemeClr val="accent2">
                  <a:lumMod val="50000"/>
                </a:schemeClr>
              </a:buClr>
              <a:buFont typeface="Wingdings" pitchFamily="2" charset="2"/>
              <a:buChar char="q"/>
            </a:pPr>
            <a:r>
              <a:rPr lang="en-US" dirty="0"/>
              <a:t>Must Have – baseline requirements</a:t>
            </a:r>
          </a:p>
          <a:p>
            <a:pPr marL="600075" lvl="1" indent="-257175">
              <a:buClr>
                <a:schemeClr val="accent2">
                  <a:lumMod val="50000"/>
                </a:schemeClr>
              </a:buClr>
              <a:buFont typeface="Wingdings" pitchFamily="2" charset="2"/>
              <a:buChar char="q"/>
            </a:pPr>
            <a:r>
              <a:rPr lang="en-US" dirty="0"/>
              <a:t>Satisfiers – the more the better</a:t>
            </a:r>
          </a:p>
          <a:p>
            <a:pPr marL="600075" lvl="1" indent="-257175">
              <a:buClr>
                <a:schemeClr val="accent2">
                  <a:lumMod val="50000"/>
                </a:schemeClr>
              </a:buClr>
              <a:buFont typeface="Wingdings" pitchFamily="2" charset="2"/>
              <a:buChar char="q"/>
            </a:pPr>
            <a:r>
              <a:rPr lang="en-US" dirty="0"/>
              <a:t>Delighters – at least one or two</a:t>
            </a:r>
          </a:p>
          <a:p>
            <a:pPr marL="600075" lvl="1" indent="-257175">
              <a:buClr>
                <a:schemeClr val="accent2">
                  <a:lumMod val="50000"/>
                </a:schemeClr>
              </a:buClr>
              <a:buFont typeface="Wingdings" pitchFamily="2" charset="2"/>
              <a:buChar char="q"/>
            </a:pPr>
            <a:r>
              <a:rPr lang="en-US" dirty="0"/>
              <a:t>Dissatisfiers – don’t deliver thes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745219" y="1716316"/>
            <a:ext cx="451277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oSCoW:</a:t>
            </a:r>
          </a:p>
          <a:p>
            <a:pPr marL="600075" lvl="1" indent="-257175">
              <a:buClr>
                <a:schemeClr val="accent2">
                  <a:lumMod val="50000"/>
                </a:schemeClr>
              </a:buClr>
              <a:buFont typeface="Wingdings" pitchFamily="2" charset="2"/>
              <a:buChar char="q"/>
            </a:pPr>
            <a:r>
              <a:rPr lang="en-US" dirty="0"/>
              <a:t>Must Have – baseline requirements</a:t>
            </a:r>
          </a:p>
          <a:p>
            <a:pPr marL="600075" lvl="1" indent="-257175">
              <a:buClr>
                <a:schemeClr val="accent2">
                  <a:lumMod val="50000"/>
                </a:schemeClr>
              </a:buClr>
              <a:buFont typeface="Wingdings" pitchFamily="2" charset="2"/>
              <a:buChar char="q"/>
            </a:pPr>
            <a:r>
              <a:rPr lang="en-US" dirty="0"/>
              <a:t>Should Have – deliver if possible</a:t>
            </a:r>
          </a:p>
          <a:p>
            <a:pPr marL="600075" lvl="1" indent="-257175">
              <a:buClr>
                <a:schemeClr val="accent2">
                  <a:lumMod val="50000"/>
                </a:schemeClr>
              </a:buClr>
              <a:buFont typeface="Wingdings" pitchFamily="2" charset="2"/>
              <a:buChar char="q"/>
            </a:pPr>
            <a:r>
              <a:rPr lang="en-US" dirty="0"/>
              <a:t>Could Have – not critical</a:t>
            </a:r>
          </a:p>
          <a:p>
            <a:pPr marL="600075" lvl="1" indent="-257175">
              <a:buClr>
                <a:schemeClr val="accent2">
                  <a:lumMod val="50000"/>
                </a:schemeClr>
              </a:buClr>
              <a:buFont typeface="Wingdings" pitchFamily="2" charset="2"/>
              <a:buChar char="q"/>
            </a:pPr>
            <a:r>
              <a:rPr lang="en-US" dirty="0"/>
              <a:t>Would Like – Wouldn’t it be cool if…?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01E6CE40-1206-43FC-8350-0A62A3CA56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5552" r="24107" b="45683"/>
          <a:stretch/>
        </p:blipFill>
        <p:spPr bwMode="auto">
          <a:xfrm>
            <a:off x="7315200" y="2590801"/>
            <a:ext cx="2764056" cy="2327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5251874"/>
      </p:ext>
    </p:extLst>
  </p:cSld>
  <p:clrMapOvr>
    <a:masterClrMapping/>
  </p:clrMapOvr>
  <p:transition spd="slow">
    <p:wip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64761" y="302746"/>
            <a:ext cx="8229600" cy="914400"/>
          </a:xfrm>
        </p:spPr>
        <p:txBody>
          <a:bodyPr/>
          <a:lstStyle/>
          <a:p>
            <a:r>
              <a:rPr lang="en-US" dirty="0"/>
              <a:t>Estimating – Story Point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1835497" y="1349466"/>
            <a:ext cx="4023360" cy="5014915"/>
          </a:xfrm>
        </p:spPr>
        <p:txBody>
          <a:bodyPr/>
          <a:lstStyle/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425" y="2042176"/>
            <a:ext cx="3174044" cy="362949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256023" y="1776673"/>
            <a:ext cx="7502375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Based on </a:t>
            </a:r>
            <a:r>
              <a:rPr lang="en-US" sz="2000" b="1" dirty="0"/>
              <a:t>Size</a:t>
            </a:r>
            <a:r>
              <a:rPr lang="en-US" sz="2000" dirty="0"/>
              <a:t> and </a:t>
            </a:r>
            <a:r>
              <a:rPr lang="en-US" sz="2000" b="1" dirty="0"/>
              <a:t>Complexity</a:t>
            </a:r>
            <a:r>
              <a:rPr lang="en-US" sz="2000" dirty="0"/>
              <a:t>, </a:t>
            </a:r>
            <a:r>
              <a:rPr lang="en-US" sz="2000" i="1" dirty="0"/>
              <a:t>not time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Triangulate with other known factors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Smaller stories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Similar stories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Larger stories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Use abstract unit of measure:  </a:t>
            </a:r>
            <a:r>
              <a:rPr lang="en-US" sz="2000" b="1" i="1" dirty="0"/>
              <a:t>Story Points (1, 2, 3, 5, 8, 13, 20)</a:t>
            </a:r>
          </a:p>
        </p:txBody>
      </p:sp>
      <p:sp>
        <p:nvSpPr>
          <p:cNvPr id="7" name="Rectangle 6"/>
          <p:cNvSpPr/>
          <p:nvPr/>
        </p:nvSpPr>
        <p:spPr>
          <a:xfrm>
            <a:off x="6942734" y="4921972"/>
            <a:ext cx="685801" cy="81280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418734" y="4529281"/>
            <a:ext cx="1295401" cy="1598184"/>
          </a:xfrm>
          <a:prstGeom prst="rect">
            <a:avLst/>
          </a:prstGeom>
          <a:solidFill>
            <a:srgbClr val="00B0F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857134" y="4716154"/>
            <a:ext cx="990601" cy="1224441"/>
          </a:xfrm>
          <a:prstGeom prst="rect">
            <a:avLst/>
          </a:prstGeom>
          <a:solidFill>
            <a:srgbClr val="FFC00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5851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8"/>
          <p:cNvSpPr txBox="1">
            <a:spLocks/>
          </p:cNvSpPr>
          <p:nvPr/>
        </p:nvSpPr>
        <p:spPr bwMode="auto">
          <a:xfrm>
            <a:off x="528886" y="389782"/>
            <a:ext cx="8229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2pPr>
            <a:lvl3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3pPr>
            <a:lvl4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4pPr>
            <a:lvl5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9pPr>
          </a:lstStyle>
          <a:p>
            <a:r>
              <a:rPr lang="en-US" sz="2800" kern="0" dirty="0">
                <a:solidFill>
                  <a:schemeClr val="tx1"/>
                </a:solidFill>
              </a:rPr>
              <a:t>Estimating – Planning Poker (</a:t>
            </a:r>
            <a:r>
              <a:rPr lang="en-US" sz="2800" kern="0" dirty="0">
                <a:solidFill>
                  <a:schemeClr val="tx1"/>
                </a:solidFill>
                <a:hlinkClick r:id="rId3"/>
              </a:rPr>
              <a:t>https://www.planningpoker.com</a:t>
            </a:r>
            <a:r>
              <a:rPr lang="en-US" sz="2800" kern="0" dirty="0">
                <a:solidFill>
                  <a:schemeClr val="tx1"/>
                </a:solidFill>
              </a:rPr>
              <a:t>) </a:t>
            </a:r>
          </a:p>
        </p:txBody>
      </p:sp>
      <p:sp>
        <p:nvSpPr>
          <p:cNvPr id="4" name="Rectangle 3"/>
          <p:cNvSpPr/>
          <p:nvPr/>
        </p:nvSpPr>
        <p:spPr>
          <a:xfrm>
            <a:off x="5715000" y="1675833"/>
            <a:ext cx="4572000" cy="324704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Each estimator has a deck of cards</a:t>
            </a:r>
          </a:p>
          <a:p>
            <a:pPr marL="285750" indent="-285750">
              <a:spcBef>
                <a:spcPts val="600"/>
              </a:spcBef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Product Owner describes a story and allows brief discussion</a:t>
            </a:r>
          </a:p>
          <a:p>
            <a:pPr marL="285750" indent="-285750">
              <a:spcBef>
                <a:spcPts val="600"/>
              </a:spcBef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Each player selects a card for their estimate (comparing to baseline) and places it face down</a:t>
            </a:r>
          </a:p>
          <a:p>
            <a:pPr marL="285750" indent="-285750">
              <a:spcBef>
                <a:spcPts val="600"/>
              </a:spcBef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All cards shown at same time to reduce influencers</a:t>
            </a:r>
          </a:p>
          <a:p>
            <a:pPr marL="285750" indent="-285750">
              <a:spcBef>
                <a:spcPts val="600"/>
              </a:spcBef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Outliers discuss differences</a:t>
            </a:r>
          </a:p>
          <a:p>
            <a:pPr marL="285750" indent="-285750">
              <a:spcBef>
                <a:spcPts val="600"/>
              </a:spcBef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Re-estimate until convergence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576" y="2024295"/>
            <a:ext cx="3037113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19051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635265" y="4670878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s a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I want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So that _</a:t>
            </a:r>
          </a:p>
        </p:txBody>
      </p:sp>
      <p:sp>
        <p:nvSpPr>
          <p:cNvPr id="10" name="Rectangle 9"/>
          <p:cNvSpPr/>
          <p:nvPr/>
        </p:nvSpPr>
        <p:spPr>
          <a:xfrm>
            <a:off x="8570155" y="4670878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s a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I want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So that _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26166" y="4689021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s a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I want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So that _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986579" y="4707164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s a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I want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So that _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410827" y="4689021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s a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I want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So that _</a:t>
            </a:r>
          </a:p>
        </p:txBody>
      </p:sp>
      <p:sp>
        <p:nvSpPr>
          <p:cNvPr id="2" name="TextBox 1"/>
          <p:cNvSpPr txBox="1"/>
          <p:nvPr/>
        </p:nvSpPr>
        <p:spPr>
          <a:xfrm flipH="1">
            <a:off x="2664656" y="1775360"/>
            <a:ext cx="4428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Silent Relative Sizing</a:t>
            </a:r>
          </a:p>
        </p:txBody>
      </p:sp>
      <p:sp>
        <p:nvSpPr>
          <p:cNvPr id="5" name="Rectangle 4"/>
          <p:cNvSpPr/>
          <p:nvPr/>
        </p:nvSpPr>
        <p:spPr>
          <a:xfrm>
            <a:off x="4789934" y="1770835"/>
            <a:ext cx="20608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Edit the wall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272897" y="1770835"/>
            <a:ext cx="222689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Bucketize the item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664656" y="3745593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X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45755" y="3745593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026855" y="3745593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207955" y="3749221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389056" y="3745593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XL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570155" y="3745593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333713" y="1783372"/>
            <a:ext cx="14029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halleng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664656" y="3144879"/>
            <a:ext cx="914400" cy="415285"/>
          </a:xfrm>
          <a:prstGeom prst="rect">
            <a:avLst/>
          </a:prstGeom>
          <a:solidFill>
            <a:schemeClr val="bg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Smaller</a:t>
            </a:r>
          </a:p>
        </p:txBody>
      </p:sp>
      <p:sp>
        <p:nvSpPr>
          <p:cNvPr id="25" name="Rectangle 24"/>
          <p:cNvSpPr/>
          <p:nvPr/>
        </p:nvSpPr>
        <p:spPr>
          <a:xfrm>
            <a:off x="8570155" y="3144879"/>
            <a:ext cx="914400" cy="415285"/>
          </a:xfrm>
          <a:prstGeom prst="rect">
            <a:avLst/>
          </a:prstGeom>
          <a:solidFill>
            <a:schemeClr val="bg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arger</a:t>
            </a:r>
          </a:p>
        </p:txBody>
      </p:sp>
      <p:sp>
        <p:nvSpPr>
          <p:cNvPr id="26" name="Rectangle 25"/>
          <p:cNvSpPr/>
          <p:nvPr/>
        </p:nvSpPr>
        <p:spPr>
          <a:xfrm>
            <a:off x="6178564" y="4689021"/>
            <a:ext cx="914400" cy="830571"/>
          </a:xfrm>
          <a:prstGeom prst="rect">
            <a:avLst/>
          </a:prstGeom>
          <a:solidFill>
            <a:srgbClr val="FFFF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s a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I want _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So that _</a:t>
            </a:r>
          </a:p>
        </p:txBody>
      </p:sp>
      <p:sp>
        <p:nvSpPr>
          <p:cNvPr id="28" name="Title 8"/>
          <p:cNvSpPr txBox="1">
            <a:spLocks/>
          </p:cNvSpPr>
          <p:nvPr/>
        </p:nvSpPr>
        <p:spPr bwMode="auto">
          <a:xfrm>
            <a:off x="551372" y="500507"/>
            <a:ext cx="8229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2pPr>
            <a:lvl3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3pPr>
            <a:lvl4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4pPr>
            <a:lvl5pPr algn="l" rtl="0" eaLnBrk="1" fontAlgn="ctr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Segoe Semibold" pitchFamily="2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3399"/>
                </a:solidFill>
                <a:latin typeface="Tahoma" pitchFamily="34" charset="0"/>
              </a:defRPr>
            </a:lvl9pPr>
          </a:lstStyle>
          <a:p>
            <a:r>
              <a:rPr lang="en-US" sz="2800" kern="0" dirty="0">
                <a:solidFill>
                  <a:schemeClr val="tx1"/>
                </a:solidFill>
              </a:rPr>
              <a:t>Estimating – T-shirt sizing</a:t>
            </a:r>
          </a:p>
        </p:txBody>
      </p:sp>
    </p:spTree>
    <p:extLst>
      <p:ext uri="{BB962C8B-B14F-4D97-AF65-F5344CB8AC3E}">
        <p14:creationId xmlns:p14="http://schemas.microsoft.com/office/powerpoint/2010/main" val="1033052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  <p:bldP spid="14" grpId="0" animBg="1"/>
      <p:bldP spid="15" grpId="0" animBg="1"/>
      <p:bldP spid="5" grpId="0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4" grpId="0" animBg="1"/>
      <p:bldP spid="25" grpId="0" animBg="1"/>
      <p:bldP spid="26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acity Planning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1" y="2210482"/>
            <a:ext cx="2779249" cy="333006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181600" y="1828800"/>
            <a:ext cx="54864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lculate actual time available for a given sprint.  Used during Sprint Planning.</a:t>
            </a:r>
          </a:p>
          <a:p>
            <a:endParaRPr lang="en-US" sz="2000" dirty="0"/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Assume 6 hours per day of productive time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Discuss PTO and other commitments that need to be taken into account for capacity planning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Should be done during sprint planning 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Be realistic about your capacity </a:t>
            </a:r>
          </a:p>
        </p:txBody>
      </p:sp>
    </p:spTree>
    <p:extLst>
      <p:ext uri="{BB962C8B-B14F-4D97-AF65-F5344CB8AC3E}">
        <p14:creationId xmlns:p14="http://schemas.microsoft.com/office/powerpoint/2010/main" val="3390181251"/>
      </p:ext>
    </p:extLst>
  </p:cSld>
  <p:clrMapOvr>
    <a:masterClrMapping/>
  </p:clrMapOvr>
  <p:transition spd="slow">
    <p:wip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locit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792" y="1515274"/>
            <a:ext cx="709052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presents how much work the team can finish in one sprint.  Used for forecasting and Sprint Planning.</a:t>
            </a:r>
          </a:p>
          <a:p>
            <a:endParaRPr lang="en-US" dirty="0"/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Total the points completed at end of sprint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Average the velocity across sprints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Different teams have different velocity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Estimate </a:t>
            </a:r>
            <a:r>
              <a:rPr lang="en-US" u="sng" dirty="0"/>
              <a:t>used for planning</a:t>
            </a:r>
            <a:r>
              <a:rPr lang="en-US" dirty="0"/>
              <a:t> purposes only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Will be used to determine capacity and pace of work moving forward – how many stories can the team take on in a sustainable pace?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DO NOT USE VELOCITY AS A TEAM PERFORMANCE MEASUREMENT!!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Velocity is affected by: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Number of people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Time off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Multi-tasking</a:t>
            </a:r>
          </a:p>
        </p:txBody>
      </p:sp>
      <p:pic>
        <p:nvPicPr>
          <p:cNvPr id="5" name="Picture 4" descr="A picture containing object&#10;&#10;Description automatically generated">
            <a:extLst>
              <a:ext uri="{FF2B5EF4-FFF2-40B4-BE49-F238E27FC236}">
                <a16:creationId xmlns:a16="http://schemas.microsoft.com/office/drawing/2014/main" id="{4C8C16E2-B22E-4FC4-A0CB-C156309DB9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800" y="2362201"/>
            <a:ext cx="3702312" cy="3239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095238"/>
      </p:ext>
    </p:extLst>
  </p:cSld>
  <p:clrMapOvr>
    <a:masterClrMapping/>
  </p:clrMapOvr>
  <p:transition spd="slow">
    <p:wip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3"/>
          <p:cNvSpPr>
            <a:spLocks noGrp="1" noChangeArrowheads="1"/>
          </p:cNvSpPr>
          <p:nvPr>
            <p:ph idx="1"/>
          </p:nvPr>
        </p:nvSpPr>
        <p:spPr>
          <a:xfrm>
            <a:off x="5018388" y="1600201"/>
            <a:ext cx="5802012" cy="4623581"/>
          </a:xfrm>
        </p:spPr>
        <p:txBody>
          <a:bodyPr>
            <a:noAutofit/>
          </a:bodyPr>
          <a:lstStyle/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Use metrics for positive reinforcement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Use the “5 Why’s”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Typical Agile Metrics:</a:t>
            </a:r>
          </a:p>
          <a:p>
            <a:pPr marL="628650" lvl="1" indent="-285750">
              <a:spcBef>
                <a:spcPts val="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</a:pPr>
            <a:r>
              <a:rPr lang="en-US" sz="1800" dirty="0"/>
              <a:t>Burndown charts</a:t>
            </a:r>
          </a:p>
          <a:p>
            <a:pPr marL="971550" lvl="2" indent="-285750">
              <a:spcBef>
                <a:spcPts val="0"/>
              </a:spcBef>
              <a:buClr>
                <a:schemeClr val="accent2">
                  <a:lumMod val="50000"/>
                </a:schemeClr>
              </a:buClr>
            </a:pPr>
            <a:r>
              <a:rPr lang="en-US" sz="1800" dirty="0"/>
              <a:t>Provides visibility into work remaining</a:t>
            </a:r>
          </a:p>
          <a:p>
            <a:pPr marL="971550" lvl="2" indent="-285750">
              <a:spcBef>
                <a:spcPts val="0"/>
              </a:spcBef>
              <a:buClr>
                <a:schemeClr val="accent2">
                  <a:lumMod val="50000"/>
                </a:schemeClr>
              </a:buClr>
            </a:pPr>
            <a:r>
              <a:rPr lang="en-US" sz="1800" dirty="0"/>
              <a:t>Can be produced for Release, Sprint</a:t>
            </a:r>
          </a:p>
          <a:p>
            <a:pPr marL="628650" lvl="1" indent="-285750">
              <a:spcAft>
                <a:spcPts val="0"/>
              </a:spcAft>
              <a:buClr>
                <a:schemeClr val="accent2">
                  <a:lumMod val="50000"/>
                </a:schemeClr>
              </a:buClr>
            </a:pPr>
            <a:r>
              <a:rPr lang="en-US" sz="1800" dirty="0"/>
              <a:t>Burnup charts</a:t>
            </a:r>
          </a:p>
          <a:p>
            <a:pPr marL="971550" lvl="2" indent="-285750">
              <a:spcBef>
                <a:spcPts val="0"/>
              </a:spcBef>
              <a:buClr>
                <a:schemeClr val="accent2">
                  <a:lumMod val="50000"/>
                </a:schemeClr>
              </a:buClr>
            </a:pPr>
            <a:r>
              <a:rPr lang="en-US" sz="1800" dirty="0"/>
              <a:t>Provides visibility into work completed</a:t>
            </a:r>
          </a:p>
          <a:p>
            <a:pPr marL="971550" lvl="2" indent="-285750">
              <a:spcBef>
                <a:spcPts val="0"/>
              </a:spcBef>
              <a:buClr>
                <a:schemeClr val="accent2">
                  <a:lumMod val="50000"/>
                </a:schemeClr>
              </a:buClr>
            </a:pPr>
            <a:r>
              <a:rPr lang="en-US" sz="1800" dirty="0"/>
              <a:t>Can be produced for Release, Sprint, Epic</a:t>
            </a:r>
          </a:p>
          <a:p>
            <a:pPr marL="628650" lvl="1" indent="-285750">
              <a:buClr>
                <a:schemeClr val="accent2">
                  <a:lumMod val="50000"/>
                </a:schemeClr>
              </a:buClr>
            </a:pPr>
            <a:r>
              <a:rPr lang="en-US" sz="1800" dirty="0"/>
              <a:t>Completed vs. Committed</a:t>
            </a:r>
          </a:p>
          <a:p>
            <a:pPr marL="628650" lvl="1" indent="-285750">
              <a:buClr>
                <a:schemeClr val="accent2">
                  <a:lumMod val="50000"/>
                </a:schemeClr>
              </a:buClr>
            </a:pPr>
            <a:r>
              <a:rPr lang="en-US" sz="1800" dirty="0"/>
              <a:t>Quality Metrics</a:t>
            </a:r>
            <a:endParaRPr lang="ru-RU" sz="1800" dirty="0"/>
          </a:p>
        </p:txBody>
      </p:sp>
      <p:sp>
        <p:nvSpPr>
          <p:cNvPr id="143362" name="Rectangle 2"/>
          <p:cNvSpPr>
            <a:spLocks noGrp="1" noChangeArrowheads="1"/>
          </p:cNvSpPr>
          <p:nvPr>
            <p:ph type="title"/>
          </p:nvPr>
        </p:nvSpPr>
        <p:spPr>
          <a:xfrm>
            <a:off x="471191" y="187377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etrics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1" y="2531305"/>
            <a:ext cx="2857499" cy="276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115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Improvement</a:t>
            </a:r>
            <a:endParaRPr lang="ru-RU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"/>
          </p:nvPr>
        </p:nvSpPr>
        <p:spPr>
          <a:xfrm>
            <a:off x="2161674" y="1447801"/>
            <a:ext cx="7659858" cy="4942451"/>
          </a:xfrm>
        </p:spPr>
        <p:txBody>
          <a:bodyPr>
            <a:normAutofit fontScale="55000" lnSpcReduction="20000"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2900" dirty="0"/>
              <a:t>Empirical Process Model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Transparency – good, bad, and ugly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Inspection – review results based on data and observations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Adaptation – small incremental changes; evolve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2900" dirty="0"/>
              <a:t>Daily Scrum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NOT a status meeting – it’s all about the team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Inspect and Adapt + 24-hour plan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2900" dirty="0"/>
              <a:t>Retrospective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What went well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What didn’t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How do we get better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Respectfully question authority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2900" dirty="0"/>
              <a:t>Slack-time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100% capacity = no time to improve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200" dirty="0"/>
              <a:t>Allow time to improve skills, knowledge, process, and teamwork</a:t>
            </a:r>
          </a:p>
          <a:p>
            <a:endParaRPr lang="en-US" sz="16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813" y="2382129"/>
            <a:ext cx="3304660" cy="3723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1210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164080" y="1706880"/>
            <a:ext cx="4260166" cy="4555848"/>
          </a:xfrm>
        </p:spPr>
        <p:txBody>
          <a:bodyPr>
            <a:normAutofit lnSpcReduction="10000"/>
          </a:bodyPr>
          <a:lstStyle/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Shows estimated work remaining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Represents a real-time snapshot of the progress we are making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Burndown is generated by capturing time remaining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Helps the team to recognize its cadence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Available per Release, Sprint or Individual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Forces the right conversation to happen early</a:t>
            </a:r>
          </a:p>
          <a:p>
            <a:pPr marL="628650" lvl="1" indent="-285750">
              <a:spcBef>
                <a:spcPts val="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</a:pPr>
            <a:r>
              <a:rPr lang="en-US" sz="1600" dirty="0"/>
              <a:t>What can we do about it?</a:t>
            </a:r>
          </a:p>
          <a:p>
            <a:pPr marL="628650" lvl="1" indent="-285750">
              <a:spcBef>
                <a:spcPts val="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</a:pPr>
            <a:r>
              <a:rPr lang="en-US" sz="1600" dirty="0"/>
              <a:t>What is needed to get back on track?</a:t>
            </a:r>
          </a:p>
          <a:p>
            <a:pPr marL="628650" lvl="1" indent="-285750">
              <a:spcBef>
                <a:spcPts val="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</a:pPr>
            <a:r>
              <a:rPr lang="en-US" sz="1600" dirty="0"/>
              <a:t>Help from each other?  Help from the PO?  Help from another group or Stakehold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3716" y="136746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Burndown Charts (Scrum)</a:t>
            </a:r>
          </a:p>
        </p:txBody>
      </p:sp>
      <p:graphicFrame>
        <p:nvGraphicFramePr>
          <p:cNvPr id="4" name="Chart 3"/>
          <p:cNvGraphicFramePr/>
          <p:nvPr/>
        </p:nvGraphicFramePr>
        <p:xfrm>
          <a:off x="6424247" y="1858452"/>
          <a:ext cx="3665415" cy="4252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015343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0231" y="-68705"/>
            <a:ext cx="5379720" cy="1341120"/>
          </a:xfrm>
        </p:spPr>
        <p:txBody>
          <a:bodyPr/>
          <a:lstStyle/>
          <a:p>
            <a:r>
              <a:rPr lang="en-US" dirty="0"/>
              <a:t>Next Steps 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A2BB96-5665-4101-8E80-B8DFC3D4C693}"/>
              </a:ext>
            </a:extLst>
          </p:cNvPr>
          <p:cNvSpPr txBox="1"/>
          <p:nvPr/>
        </p:nvSpPr>
        <p:spPr>
          <a:xfrm>
            <a:off x="565819" y="1531088"/>
            <a:ext cx="10888989" cy="440120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000" b="1" spc="200" dirty="0">
                <a:latin typeface="Value Sans Pro"/>
              </a:rPr>
              <a:t>Conduct agile pilot on following priority areas: </a:t>
            </a:r>
          </a:p>
          <a:p>
            <a:pPr marL="800100" lvl="1" indent="-342900">
              <a:buFont typeface="Value Sans Pro" panose="020B0503050101040103" pitchFamily="34" charset="0"/>
              <a:buChar char="-"/>
            </a:pPr>
            <a:r>
              <a:rPr lang="en-US" sz="2000" spc="200" dirty="0">
                <a:latin typeface="Value Sans Pro"/>
              </a:rPr>
              <a:t>Fund Down</a:t>
            </a:r>
          </a:p>
          <a:p>
            <a:pPr marL="800100" lvl="1" indent="-342900">
              <a:buFont typeface="Value Sans Pro" panose="020B0503050101040103" pitchFamily="34" charset="0"/>
              <a:buChar char="-"/>
            </a:pPr>
            <a:r>
              <a:rPr lang="en-US" sz="2000" spc="200" dirty="0">
                <a:latin typeface="Value Sans Pro"/>
              </a:rPr>
              <a:t>Purchasing</a:t>
            </a:r>
          </a:p>
          <a:p>
            <a:pPr marL="800100" lvl="1" indent="-342900">
              <a:buFont typeface="Value Sans Pro" panose="020B0503050101040103" pitchFamily="34" charset="0"/>
              <a:buChar char="-"/>
            </a:pPr>
            <a:r>
              <a:rPr lang="en-US" sz="2000" spc="200" dirty="0">
                <a:latin typeface="Value Sans Pro"/>
              </a:rPr>
              <a:t>Prici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000" b="1" spc="200" dirty="0">
                <a:latin typeface="Value Sans Pro"/>
              </a:rPr>
              <a:t>Hold meetings week of 5/30 with team to define “Done” for following prioriti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b="1" spc="200" dirty="0">
                <a:latin typeface="Value Sans Pro"/>
              </a:rPr>
              <a:t>Conduct sprint planning session on 6/6 (inclusive of product owners)</a:t>
            </a:r>
          </a:p>
          <a:p>
            <a:pPr marL="800100" lvl="1" indent="-342900">
              <a:buFont typeface="Value Sans Pro" panose="020B0503050101040103" pitchFamily="34" charset="0"/>
              <a:buChar char="-"/>
            </a:pPr>
            <a:r>
              <a:rPr lang="en-US" sz="2000" spc="200" dirty="0">
                <a:latin typeface="Value Sans Pro"/>
              </a:rPr>
              <a:t>Establish new team norms and governance</a:t>
            </a:r>
          </a:p>
          <a:p>
            <a:pPr marL="800100" lvl="1" indent="-342900">
              <a:buFont typeface="Value Sans Pro" panose="020B0503050101040103" pitchFamily="34" charset="0"/>
              <a:buChar char="-"/>
            </a:pPr>
            <a:r>
              <a:rPr lang="en-US" sz="2000" spc="200" dirty="0">
                <a:latin typeface="Value Sans Pro"/>
              </a:rPr>
              <a:t>Review product backlog and determine upcoming sprint scope</a:t>
            </a:r>
          </a:p>
          <a:p>
            <a:pPr marL="800100" lvl="1" indent="-342900">
              <a:buFont typeface="Value Sans Pro" panose="020B0503050101040103" pitchFamily="34" charset="0"/>
              <a:buChar char="-"/>
            </a:pPr>
            <a:r>
              <a:rPr lang="en-US" sz="2000" spc="200" dirty="0">
                <a:latin typeface="Value Sans Pro"/>
              </a:rPr>
              <a:t>Define acceptance criteria for each story</a:t>
            </a:r>
          </a:p>
          <a:p>
            <a:pPr marL="800100" lvl="1" indent="-342900">
              <a:buFont typeface="Value Sans Pro" panose="020B0503050101040103" pitchFamily="34" charset="0"/>
              <a:buChar char="-"/>
            </a:pPr>
            <a:r>
              <a:rPr lang="en-US" sz="2000" spc="200" dirty="0">
                <a:latin typeface="Value Sans Pro"/>
              </a:rPr>
              <a:t>Conduct story pointing for upcoming sprint </a:t>
            </a:r>
          </a:p>
          <a:p>
            <a:pPr marL="800100" lvl="1" indent="-342900">
              <a:buFont typeface="Value Sans Pro" panose="020B0503050101040103" pitchFamily="34" charset="0"/>
              <a:buChar char="-"/>
            </a:pPr>
            <a:r>
              <a:rPr lang="en-US" sz="2000" spc="200" dirty="0">
                <a:latin typeface="Value Sans Pro"/>
              </a:rPr>
              <a:t>Lock in upcoming sprint and launch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000" b="1" spc="200" dirty="0">
                <a:latin typeface="Value Sans Pro"/>
              </a:rPr>
              <a:t>Launch new 2-week sprint cadence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000" b="1" spc="200" dirty="0">
                <a:latin typeface="Value Sans Pro"/>
              </a:rPr>
              <a:t>Iterate and expand pilot scope </a:t>
            </a:r>
          </a:p>
        </p:txBody>
      </p:sp>
    </p:spTree>
    <p:extLst>
      <p:ext uri="{BB962C8B-B14F-4D97-AF65-F5344CB8AC3E}">
        <p14:creationId xmlns:p14="http://schemas.microsoft.com/office/powerpoint/2010/main" val="1892015338"/>
      </p:ext>
    </p:extLst>
  </p:cSld>
  <p:clrMapOvr>
    <a:masterClrMapping/>
  </p:clrMapOvr>
  <p:transition spd="slow">
    <p:wip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2514600"/>
            <a:ext cx="2514600" cy="2786836"/>
          </a:xfrm>
          <a:prstGeom prst="rect">
            <a:avLst/>
          </a:prstGeom>
        </p:spPr>
      </p:pic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0231" y="-68705"/>
            <a:ext cx="5379720" cy="1341120"/>
          </a:xfrm>
        </p:spPr>
        <p:txBody>
          <a:bodyPr/>
          <a:lstStyle/>
          <a:p>
            <a:r>
              <a:rPr lang="en-US" dirty="0"/>
              <a:t>Questions?</a:t>
            </a:r>
            <a:endParaRPr lang="ru-RU" dirty="0"/>
          </a:p>
        </p:txBody>
      </p:sp>
      <p:sp>
        <p:nvSpPr>
          <p:cNvPr id="2" name="Rectangle 1"/>
          <p:cNvSpPr/>
          <p:nvPr/>
        </p:nvSpPr>
        <p:spPr>
          <a:xfrm>
            <a:off x="5257800" y="2637175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Parking Lot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Any remaining questions?</a:t>
            </a:r>
          </a:p>
          <a:p>
            <a:pPr marL="285750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Retrospective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i="1" dirty="0"/>
              <a:t>What went well?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i="1" dirty="0"/>
              <a:t>What didn’t?</a:t>
            </a:r>
          </a:p>
          <a:p>
            <a:pPr marL="742950" lvl="1" indent="-2857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i="1" dirty="0"/>
              <a:t>Ideas for improvement?</a:t>
            </a:r>
          </a:p>
        </p:txBody>
      </p:sp>
    </p:spTree>
    <p:extLst>
      <p:ext uri="{BB962C8B-B14F-4D97-AF65-F5344CB8AC3E}">
        <p14:creationId xmlns:p14="http://schemas.microsoft.com/office/powerpoint/2010/main" val="1579699464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6200" y="394677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ush vs. Pull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4302" y="1491958"/>
            <a:ext cx="4678534" cy="3050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Image result for pull system lea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0284" y="2217684"/>
            <a:ext cx="2897922" cy="1693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1997788" y="4542539"/>
            <a:ext cx="82600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Unlike a “push” system, where work is given to a person and put into a massive “to-do” list, </a:t>
            </a:r>
            <a:r>
              <a:rPr lang="en-US" sz="1600" b="1" u="sng" dirty="0"/>
              <a:t>pull systems allow the person doing the work to pull in tasks as they are ready</a:t>
            </a:r>
            <a:r>
              <a:rPr lang="en-US" sz="1600" dirty="0"/>
              <a:t>. This prevents people from feeling overloaded and forces teams to prioritize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4DBE3B-981E-4408-A624-0B27F43B6D59}"/>
              </a:ext>
            </a:extLst>
          </p:cNvPr>
          <p:cNvSpPr txBox="1"/>
          <p:nvPr/>
        </p:nvSpPr>
        <p:spPr>
          <a:xfrm>
            <a:off x="1524000" y="573821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top Starting; Start Finishing! EMPOWER the team!</a:t>
            </a:r>
          </a:p>
        </p:txBody>
      </p:sp>
    </p:spTree>
    <p:extLst>
      <p:ext uri="{BB962C8B-B14F-4D97-AF65-F5344CB8AC3E}">
        <p14:creationId xmlns:p14="http://schemas.microsoft.com/office/powerpoint/2010/main" val="2562505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55600" y="324571"/>
            <a:ext cx="8229600" cy="914400"/>
          </a:xfrm>
        </p:spPr>
        <p:txBody>
          <a:bodyPr/>
          <a:lstStyle/>
          <a:p>
            <a:r>
              <a:rPr lang="en-US" dirty="0"/>
              <a:t>Scrum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1835497" y="1349466"/>
            <a:ext cx="4023360" cy="5014915"/>
          </a:xfrm>
        </p:spPr>
        <p:txBody>
          <a:bodyPr/>
          <a:lstStyle/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7" name="Picture 4" descr="https://upload.wikimedia.org/wikipedia/commons/4/4f/Scrum_diagram_%28no_labels%29.png">
            <a:extLst>
              <a:ext uri="{FF2B5EF4-FFF2-40B4-BE49-F238E27FC236}">
                <a16:creationId xmlns:a16="http://schemas.microsoft.com/office/drawing/2014/main" id="{DCB9FE81-D15C-476D-92DF-4130FA8033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067" y="1938759"/>
            <a:ext cx="7848600" cy="3094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28E0B4F9-6284-4249-9113-F2AE389A9CC7}"/>
              </a:ext>
            </a:extLst>
          </p:cNvPr>
          <p:cNvSpPr/>
          <p:nvPr/>
        </p:nvSpPr>
        <p:spPr>
          <a:xfrm>
            <a:off x="1854202" y="2697561"/>
            <a:ext cx="1016000" cy="550333"/>
          </a:xfrm>
          <a:prstGeom prst="round2Diag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9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roduct Backlog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1" name="Rectangle: Diagonal Corners Rounded 10">
            <a:extLst>
              <a:ext uri="{FF2B5EF4-FFF2-40B4-BE49-F238E27FC236}">
                <a16:creationId xmlns:a16="http://schemas.microsoft.com/office/drawing/2014/main" id="{ABC02C78-526E-43D6-916E-3ED4DE241ED8}"/>
              </a:ext>
            </a:extLst>
          </p:cNvPr>
          <p:cNvSpPr/>
          <p:nvPr/>
        </p:nvSpPr>
        <p:spPr>
          <a:xfrm>
            <a:off x="3335868" y="5239973"/>
            <a:ext cx="1016000" cy="707497"/>
          </a:xfrm>
          <a:prstGeom prst="round2Diag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9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print Planning Meeting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2" name="Rectangle: Diagonal Corners Rounded 11">
            <a:extLst>
              <a:ext uri="{FF2B5EF4-FFF2-40B4-BE49-F238E27FC236}">
                <a16:creationId xmlns:a16="http://schemas.microsoft.com/office/drawing/2014/main" id="{1EDEA0B8-B8E5-49A8-B18F-8570B9BE6C93}"/>
              </a:ext>
            </a:extLst>
          </p:cNvPr>
          <p:cNvSpPr/>
          <p:nvPr/>
        </p:nvSpPr>
        <p:spPr>
          <a:xfrm>
            <a:off x="4334934" y="2651920"/>
            <a:ext cx="1016000" cy="550333"/>
          </a:xfrm>
          <a:prstGeom prst="round2Diag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9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print Backlog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A6B74D01-C98E-495E-8C72-0261CAFF5BAB}"/>
              </a:ext>
            </a:extLst>
          </p:cNvPr>
          <p:cNvSpPr/>
          <p:nvPr/>
        </p:nvSpPr>
        <p:spPr>
          <a:xfrm>
            <a:off x="6299200" y="3210720"/>
            <a:ext cx="1016000" cy="550333"/>
          </a:xfrm>
          <a:prstGeom prst="round2Diag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9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print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2 Week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0F185D5E-3D09-4177-8171-C36A9FF65D0D}"/>
              </a:ext>
            </a:extLst>
          </p:cNvPr>
          <p:cNvSpPr/>
          <p:nvPr/>
        </p:nvSpPr>
        <p:spPr>
          <a:xfrm>
            <a:off x="4842935" y="1405253"/>
            <a:ext cx="1176867" cy="550333"/>
          </a:xfrm>
          <a:prstGeom prst="round2Diag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9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Daily Scrum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Every 24 hour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1070054B-D2FC-485B-8338-F7839511F548}"/>
              </a:ext>
            </a:extLst>
          </p:cNvPr>
          <p:cNvSpPr/>
          <p:nvPr/>
        </p:nvSpPr>
        <p:spPr>
          <a:xfrm>
            <a:off x="9245600" y="2446867"/>
            <a:ext cx="1117600" cy="1191948"/>
          </a:xfrm>
          <a:prstGeom prst="round2Diag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9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otentially Shippable Increment</a:t>
            </a: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424CB435-EE7D-4D15-8015-59C2B95B6EED}"/>
              </a:ext>
            </a:extLst>
          </p:cNvPr>
          <p:cNvSpPr/>
          <p:nvPr/>
        </p:nvSpPr>
        <p:spPr>
          <a:xfrm>
            <a:off x="7713134" y="5212772"/>
            <a:ext cx="1016000" cy="707497"/>
          </a:xfrm>
          <a:prstGeom prst="round2Diag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9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print Review Meeting</a:t>
            </a:r>
            <a:endParaRPr lang="en-US" b="1" dirty="0">
              <a:solidFill>
                <a:schemeClr val="tx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72E06ED-038C-4DD3-A2D1-0BB17AF44637}"/>
              </a:ext>
            </a:extLst>
          </p:cNvPr>
          <p:cNvCxnSpPr>
            <a:cxnSpLocks/>
            <a:stCxn id="8" idx="0"/>
          </p:cNvCxnSpPr>
          <p:nvPr/>
        </p:nvCxnSpPr>
        <p:spPr>
          <a:xfrm>
            <a:off x="2870203" y="2972728"/>
            <a:ext cx="558799" cy="788325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DC2DB9C-FB8B-444A-96A9-0F7A4FCC39D7}"/>
              </a:ext>
            </a:extLst>
          </p:cNvPr>
          <p:cNvCxnSpPr>
            <a:cxnSpLocks/>
            <a:stCxn id="14" idx="0"/>
          </p:cNvCxnSpPr>
          <p:nvPr/>
        </p:nvCxnSpPr>
        <p:spPr>
          <a:xfrm>
            <a:off x="6019802" y="1680419"/>
            <a:ext cx="380999" cy="499496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7BDA560-6B0F-4CD7-A1E7-0875CBF02A11}"/>
              </a:ext>
            </a:extLst>
          </p:cNvPr>
          <p:cNvCxnSpPr>
            <a:cxnSpLocks/>
          </p:cNvCxnSpPr>
          <p:nvPr/>
        </p:nvCxnSpPr>
        <p:spPr>
          <a:xfrm>
            <a:off x="4842935" y="3202252"/>
            <a:ext cx="406398" cy="963348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B400FCA-87F9-4E83-BD39-7DF63863BBAC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3843868" y="4211374"/>
            <a:ext cx="626532" cy="1028598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E82810E-E5FB-4261-86D7-6CCCC3363A02}"/>
              </a:ext>
            </a:extLst>
          </p:cNvPr>
          <p:cNvCxnSpPr>
            <a:cxnSpLocks/>
            <a:endCxn id="16" idx="3"/>
          </p:cNvCxnSpPr>
          <p:nvPr/>
        </p:nvCxnSpPr>
        <p:spPr>
          <a:xfrm>
            <a:off x="8001000" y="4267201"/>
            <a:ext cx="220134" cy="945571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B37F822-3E9D-4005-BC20-2812FAB021C0}"/>
              </a:ext>
            </a:extLst>
          </p:cNvPr>
          <p:cNvCxnSpPr>
            <a:cxnSpLocks/>
          </p:cNvCxnSpPr>
          <p:nvPr/>
        </p:nvCxnSpPr>
        <p:spPr>
          <a:xfrm flipH="1">
            <a:off x="8729134" y="3042841"/>
            <a:ext cx="516466" cy="854314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6C9E6B1-A4BF-4437-B2BB-267F60C03AA3}"/>
              </a:ext>
            </a:extLst>
          </p:cNvPr>
          <p:cNvGrpSpPr/>
          <p:nvPr/>
        </p:nvGrpSpPr>
        <p:grpSpPr>
          <a:xfrm>
            <a:off x="2921297" y="1920874"/>
            <a:ext cx="1015409" cy="610406"/>
            <a:chOff x="347137" y="1490000"/>
            <a:chExt cx="1015409" cy="610406"/>
          </a:xfrm>
        </p:grpSpPr>
        <p:pic>
          <p:nvPicPr>
            <p:cNvPr id="24" name="Picture 6" descr="Antu list-resource-add.svg">
              <a:extLst>
                <a:ext uri="{FF2B5EF4-FFF2-40B4-BE49-F238E27FC236}">
                  <a16:creationId xmlns:a16="http://schemas.microsoft.com/office/drawing/2014/main" id="{DB2132DF-00F4-4C3A-98D0-288C666C16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7137" y="1490000"/>
              <a:ext cx="473837" cy="473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6" descr="Antu list-resource-add.svg">
              <a:extLst>
                <a:ext uri="{FF2B5EF4-FFF2-40B4-BE49-F238E27FC236}">
                  <a16:creationId xmlns:a16="http://schemas.microsoft.com/office/drawing/2014/main" id="{9B6C9247-0193-46B3-A61C-81F2B54C4C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923" y="1490000"/>
              <a:ext cx="473837" cy="473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Antu list-resource-add.svg">
              <a:extLst>
                <a:ext uri="{FF2B5EF4-FFF2-40B4-BE49-F238E27FC236}">
                  <a16:creationId xmlns:a16="http://schemas.microsoft.com/office/drawing/2014/main" id="{902B4A64-8B6A-4FAB-942E-5178F240D7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8709" y="1490000"/>
              <a:ext cx="473837" cy="473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6" descr="Antu list-resource-add.svg">
              <a:extLst>
                <a:ext uri="{FF2B5EF4-FFF2-40B4-BE49-F238E27FC236}">
                  <a16:creationId xmlns:a16="http://schemas.microsoft.com/office/drawing/2014/main" id="{CB513D28-F31E-4344-A4E1-D222EB5A57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530" y="1626569"/>
              <a:ext cx="473837" cy="473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6" descr="Antu list-resource-add.svg">
              <a:extLst>
                <a:ext uri="{FF2B5EF4-FFF2-40B4-BE49-F238E27FC236}">
                  <a16:creationId xmlns:a16="http://schemas.microsoft.com/office/drawing/2014/main" id="{92BB8CDA-9E78-4003-87BD-612E1F3069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316" y="1626569"/>
              <a:ext cx="473837" cy="473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9" name="Picture 8" descr="Antu im-user-online.svg">
            <a:extLst>
              <a:ext uri="{FF2B5EF4-FFF2-40B4-BE49-F238E27FC236}">
                <a16:creationId xmlns:a16="http://schemas.microsoft.com/office/drawing/2014/main" id="{FDBB1E68-BCA3-41D8-98AE-BC87913E0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951192" y="1461541"/>
            <a:ext cx="493176" cy="493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Antu im-user-away.svg">
            <a:extLst>
              <a:ext uri="{FF2B5EF4-FFF2-40B4-BE49-F238E27FC236}">
                <a16:creationId xmlns:a16="http://schemas.microsoft.com/office/drawing/2014/main" id="{23DA46A6-B7F5-496E-832D-91828B72BD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253" y="1462925"/>
            <a:ext cx="491792" cy="491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 Box 268">
            <a:extLst>
              <a:ext uri="{FF2B5EF4-FFF2-40B4-BE49-F238E27FC236}">
                <a16:creationId xmlns:a16="http://schemas.microsoft.com/office/drawing/2014/main" id="{E323986D-66BA-4114-AFC0-49AE5AD529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43433" y="6250802"/>
            <a:ext cx="55044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US" altLang="en-US" sz="1200" i="1" dirty="0">
                <a:latin typeface="+mn-lt"/>
              </a:rPr>
              <a:t>Adapted from: commons.wikimedia.org/</a:t>
            </a:r>
          </a:p>
        </p:txBody>
      </p:sp>
      <p:sp>
        <p:nvSpPr>
          <p:cNvPr id="32" name="Rectangle: Diagonal Corners Rounded 31">
            <a:extLst>
              <a:ext uri="{FF2B5EF4-FFF2-40B4-BE49-F238E27FC236}">
                <a16:creationId xmlns:a16="http://schemas.microsoft.com/office/drawing/2014/main" id="{0E724907-A1ED-4DD7-A0C6-D98334D53948}"/>
              </a:ext>
            </a:extLst>
          </p:cNvPr>
          <p:cNvSpPr/>
          <p:nvPr/>
        </p:nvSpPr>
        <p:spPr>
          <a:xfrm>
            <a:off x="8970434" y="5212772"/>
            <a:ext cx="1316566" cy="707497"/>
          </a:xfrm>
          <a:prstGeom prst="round2Diag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9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print Retrospective Meeting</a:t>
            </a:r>
            <a:endParaRPr lang="en-US" b="1" dirty="0">
              <a:solidFill>
                <a:schemeClr val="tx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F3A2923-826B-4A4C-8713-1E74AED8277A}"/>
              </a:ext>
            </a:extLst>
          </p:cNvPr>
          <p:cNvCxnSpPr>
            <a:cxnSpLocks/>
            <a:endCxn id="32" idx="3"/>
          </p:cNvCxnSpPr>
          <p:nvPr/>
        </p:nvCxnSpPr>
        <p:spPr>
          <a:xfrm>
            <a:off x="8001001" y="4267201"/>
            <a:ext cx="1627717" cy="945571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: Diagonal Corners Rounded 40">
            <a:extLst>
              <a:ext uri="{FF2B5EF4-FFF2-40B4-BE49-F238E27FC236}">
                <a16:creationId xmlns:a16="http://schemas.microsoft.com/office/drawing/2014/main" id="{9464C8EE-85CC-4DA7-B012-A06469454692}"/>
              </a:ext>
            </a:extLst>
          </p:cNvPr>
          <p:cNvSpPr/>
          <p:nvPr/>
        </p:nvSpPr>
        <p:spPr>
          <a:xfrm>
            <a:off x="5767840" y="5212772"/>
            <a:ext cx="1195994" cy="707497"/>
          </a:xfrm>
          <a:prstGeom prst="round2Diag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9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Backlog Refinement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Meeting</a:t>
            </a:r>
            <a:endParaRPr lang="en-US" b="1" dirty="0">
              <a:solidFill>
                <a:schemeClr val="tx1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D6934DA-E40E-4D44-9322-A4139A57C4F0}"/>
              </a:ext>
            </a:extLst>
          </p:cNvPr>
          <p:cNvCxnSpPr>
            <a:cxnSpLocks/>
            <a:endCxn id="41" idx="3"/>
          </p:cNvCxnSpPr>
          <p:nvPr/>
        </p:nvCxnSpPr>
        <p:spPr>
          <a:xfrm flipH="1">
            <a:off x="6365837" y="4267201"/>
            <a:ext cx="242320" cy="945571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2829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Rectangle 2"/>
          <p:cNvSpPr>
            <a:spLocks noGrp="1" noChangeArrowheads="1"/>
          </p:cNvSpPr>
          <p:nvPr>
            <p:ph type="title"/>
          </p:nvPr>
        </p:nvSpPr>
        <p:spPr>
          <a:xfrm>
            <a:off x="456200" y="168060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he Team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403A27-027D-4ED6-A7DB-353EDEED33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2267941"/>
            <a:ext cx="3113532" cy="227287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3EB4A78-735D-4035-9947-D464C3023529}"/>
              </a:ext>
            </a:extLst>
          </p:cNvPr>
          <p:cNvSpPr/>
          <p:nvPr/>
        </p:nvSpPr>
        <p:spPr>
          <a:xfrm>
            <a:off x="5135880" y="1600201"/>
            <a:ext cx="6555876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488" lvl="1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2400" dirty="0"/>
              <a:t>Contains everyone necessary to develop the solution</a:t>
            </a:r>
          </a:p>
          <a:p>
            <a:pPr marL="344488" lvl="1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2400" dirty="0"/>
              <a:t>Everyone is </a:t>
            </a:r>
            <a:r>
              <a:rPr lang="en-CA" sz="2400" b="1" u="sng" dirty="0"/>
              <a:t>PART</a:t>
            </a:r>
            <a:r>
              <a:rPr lang="en-CA" sz="2400" dirty="0"/>
              <a:t> of the team</a:t>
            </a:r>
          </a:p>
          <a:p>
            <a:pPr marL="344488" lvl="1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2400" dirty="0"/>
              <a:t>Cross-functional – not a team of specialists (SM, PO, Dev, QA, Analysts)</a:t>
            </a:r>
          </a:p>
          <a:p>
            <a:pPr marL="344488" lvl="1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2400" dirty="0"/>
              <a:t>Self-organizing</a:t>
            </a:r>
          </a:p>
          <a:p>
            <a:pPr marL="344488" lvl="1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2400" dirty="0"/>
              <a:t>Typically small (&lt;=10)</a:t>
            </a:r>
          </a:p>
          <a:p>
            <a:pPr marL="344488" lvl="1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CA" sz="2400" dirty="0"/>
              <a:t>Co-located (ideally)</a:t>
            </a:r>
          </a:p>
          <a:p>
            <a:pPr marL="344488" lvl="1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CA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AC26D30-5600-48C5-9560-4533F5EA1D7E}"/>
              </a:ext>
            </a:extLst>
          </p:cNvPr>
          <p:cNvSpPr/>
          <p:nvPr/>
        </p:nvSpPr>
        <p:spPr>
          <a:xfrm>
            <a:off x="2368599" y="5473842"/>
            <a:ext cx="7315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CA" sz="2400" b="1" dirty="0"/>
              <a:t>The Team is </a:t>
            </a:r>
            <a:r>
              <a:rPr lang="en-CA" sz="2400" b="1" u="sng" dirty="0"/>
              <a:t>collectively</a:t>
            </a:r>
            <a:r>
              <a:rPr lang="en-CA" sz="2400" b="1" dirty="0"/>
              <a:t> responsible for the success of each Sprint and the project as a whole.</a:t>
            </a:r>
          </a:p>
        </p:txBody>
      </p:sp>
    </p:spTree>
    <p:extLst>
      <p:ext uri="{BB962C8B-B14F-4D97-AF65-F5344CB8AC3E}">
        <p14:creationId xmlns:p14="http://schemas.microsoft.com/office/powerpoint/2010/main" val="15720479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Rectangle 2"/>
          <p:cNvSpPr>
            <a:spLocks noGrp="1" noChangeArrowheads="1"/>
          </p:cNvSpPr>
          <p:nvPr>
            <p:ph type="title"/>
          </p:nvPr>
        </p:nvSpPr>
        <p:spPr>
          <a:xfrm>
            <a:off x="463696" y="137160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he Product Owner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088CEB-4362-4B08-A600-E4C55F114E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7622" y="1828800"/>
            <a:ext cx="3018663" cy="43434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7F51A25-0B51-4E00-BF8B-8AC9F30062A0}"/>
              </a:ext>
            </a:extLst>
          </p:cNvPr>
          <p:cNvSpPr/>
          <p:nvPr/>
        </p:nvSpPr>
        <p:spPr>
          <a:xfrm>
            <a:off x="4736285" y="1824790"/>
            <a:ext cx="6980794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925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400" dirty="0"/>
              <a:t>Is </a:t>
            </a:r>
            <a:r>
              <a:rPr lang="en-CA" sz="2400" b="1" u="sng" dirty="0"/>
              <a:t>part</a:t>
            </a:r>
            <a:r>
              <a:rPr lang="en-CA" sz="2400" dirty="0"/>
              <a:t> of the Team</a:t>
            </a:r>
          </a:p>
          <a:p>
            <a:pPr marL="288925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400" dirty="0"/>
              <a:t>Representative from the business</a:t>
            </a:r>
          </a:p>
          <a:p>
            <a:pPr marL="288925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400" dirty="0"/>
              <a:t>Determines the product vision</a:t>
            </a:r>
          </a:p>
          <a:p>
            <a:pPr marL="288925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400" dirty="0"/>
              <a:t>Acts as the customer/user representative</a:t>
            </a:r>
          </a:p>
          <a:p>
            <a:pPr marL="288925" lvl="1" indent="-285750">
              <a:buFont typeface="Arial" panose="020B0604020202020204" pitchFamily="34" charset="0"/>
              <a:buChar char="•"/>
            </a:pPr>
            <a:r>
              <a:rPr lang="en-CA" sz="2400" dirty="0"/>
              <a:t>Is responsible for: </a:t>
            </a:r>
          </a:p>
          <a:p>
            <a:pPr marL="746125" lvl="3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000" dirty="0"/>
              <a:t>Identifying and prioritizing the Product Backlog</a:t>
            </a:r>
          </a:p>
          <a:p>
            <a:pPr marL="746125" lvl="3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000" dirty="0"/>
              <a:t>Identifying acceptance criteria for items on the backlog</a:t>
            </a:r>
          </a:p>
          <a:p>
            <a:pPr marL="746125" lvl="3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000" dirty="0"/>
              <a:t>Working closely with the team to clarify items on the backlog if neede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91036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Rectangle 2"/>
          <p:cNvSpPr>
            <a:spLocks noGrp="1" noChangeArrowheads="1"/>
          </p:cNvSpPr>
          <p:nvPr>
            <p:ph type="title"/>
          </p:nvPr>
        </p:nvSpPr>
        <p:spPr>
          <a:xfrm>
            <a:off x="418726" y="157397"/>
            <a:ext cx="7924800" cy="109728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he Scrum Master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0975E3-F6C1-48EE-A5BA-1764076585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737" y="1828800"/>
            <a:ext cx="3429000" cy="4572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B97616F-3049-4ED2-8DEF-9C39A06F34FC}"/>
              </a:ext>
            </a:extLst>
          </p:cNvPr>
          <p:cNvSpPr/>
          <p:nvPr/>
        </p:nvSpPr>
        <p:spPr>
          <a:xfrm>
            <a:off x="4724400" y="2209801"/>
            <a:ext cx="5562600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488" lvl="1" indent="-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400" dirty="0"/>
              <a:t>Ensures that the team is following Scrum practices</a:t>
            </a:r>
          </a:p>
          <a:p>
            <a:pPr marL="344488" lvl="1" indent="-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400" dirty="0"/>
              <a:t>Is responsible for removing any obstacles / impediments that are keeping the team from making progress</a:t>
            </a:r>
          </a:p>
          <a:p>
            <a:pPr marL="344488" lvl="1" indent="-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400" dirty="0"/>
              <a:t>Does not have </a:t>
            </a:r>
            <a:r>
              <a:rPr lang="en-CA" sz="2400" u="sng" dirty="0"/>
              <a:t>authority</a:t>
            </a:r>
            <a:r>
              <a:rPr lang="en-CA" sz="2400" dirty="0"/>
              <a:t> over the team</a:t>
            </a:r>
          </a:p>
          <a:p>
            <a:pPr marL="344488" lvl="1" indent="-3444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A" sz="2400" dirty="0"/>
              <a:t>Serves as a coach to the team</a:t>
            </a:r>
          </a:p>
        </p:txBody>
      </p:sp>
    </p:spTree>
    <p:extLst>
      <p:ext uri="{BB962C8B-B14F-4D97-AF65-F5344CB8AC3E}">
        <p14:creationId xmlns:p14="http://schemas.microsoft.com/office/powerpoint/2010/main" val="2203357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NaX7ZKTK.3MfHdCGNe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" val="YES"/>
</p:tagLst>
</file>

<file path=ppt/theme/theme1.xml><?xml version="1.0" encoding="utf-8"?>
<a:theme xmlns:a="http://schemas.openxmlformats.org/drawingml/2006/main" name="Carlyle Theme">
  <a:themeElements>
    <a:clrScheme name="Carlyle">
      <a:dk1>
        <a:srgbClr val="0A364A"/>
      </a:dk1>
      <a:lt1>
        <a:srgbClr val="FFFFFF"/>
      </a:lt1>
      <a:dk2>
        <a:srgbClr val="0A364A"/>
      </a:dk2>
      <a:lt2>
        <a:srgbClr val="FFFFFF"/>
      </a:lt2>
      <a:accent1>
        <a:srgbClr val="6C849C"/>
      </a:accent1>
      <a:accent2>
        <a:srgbClr val="1D6571"/>
      </a:accent2>
      <a:accent3>
        <a:srgbClr val="D0E8F8"/>
      </a:accent3>
      <a:accent4>
        <a:srgbClr val="61A1E0"/>
      </a:accent4>
      <a:accent5>
        <a:srgbClr val="AB8433"/>
      </a:accent5>
      <a:accent6>
        <a:srgbClr val="B6E7FA"/>
      </a:accent6>
      <a:hlink>
        <a:srgbClr val="61A1E0"/>
      </a:hlink>
      <a:folHlink>
        <a:srgbClr val="1D6571"/>
      </a:folHlink>
    </a:clrScheme>
    <a:fontScheme name="Carlyle">
      <a:majorFont>
        <a:latin typeface="Fortescue Pro Display"/>
        <a:ea typeface=""/>
        <a:cs typeface=""/>
      </a:majorFont>
      <a:minorFont>
        <a:latin typeface="Valu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rtlCol="0">
        <a:spAutoFit/>
      </a:bodyPr>
      <a:lstStyle>
        <a:defPPr algn="l">
          <a:defRPr sz="1200" b="1" spc="200" dirty="0">
            <a:solidFill>
              <a:schemeClr val="accent1"/>
            </a:solidFill>
            <a:latin typeface="Value Sans Pro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arlyle New 1">
      <a:dk1>
        <a:sysClr val="windowText" lastClr="000000"/>
      </a:dk1>
      <a:lt1>
        <a:sysClr val="window" lastClr="FFFFFF"/>
      </a:lt1>
      <a:dk2>
        <a:srgbClr val="004A88"/>
      </a:dk2>
      <a:lt2>
        <a:srgbClr val="DCDDE8"/>
      </a:lt2>
      <a:accent1>
        <a:srgbClr val="0065B3"/>
      </a:accent1>
      <a:accent2>
        <a:srgbClr val="765C96"/>
      </a:accent2>
      <a:accent3>
        <a:srgbClr val="589FA5"/>
      </a:accent3>
      <a:accent4>
        <a:srgbClr val="88B453"/>
      </a:accent4>
      <a:accent5>
        <a:srgbClr val="8C8C98"/>
      </a:accent5>
      <a:accent6>
        <a:srgbClr val="93C3C5"/>
      </a:accent6>
      <a:hlink>
        <a:srgbClr val="A38FBB"/>
      </a:hlink>
      <a:folHlink>
        <a:srgbClr val="B9D399"/>
      </a:folHlink>
    </a:clrScheme>
    <a:fontScheme name="Segoe UI Regular and Light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rgbClr val="3CAE2D"/>
        </a:solidFill>
      </a:spPr>
      <a:bodyPr vert="horz" wrap="square" lIns="0" tIns="0" rIns="0" bIns="0" rtlCol="0" anchor="ctr" anchorCtr="0">
        <a:noAutofit/>
      </a:bodyPr>
      <a:lstStyle>
        <a:defPPr marL="225425">
          <a:lnSpc>
            <a:spcPct val="100000"/>
          </a:lnSpc>
          <a:defRPr sz="1400" spc="-15" dirty="0">
            <a:solidFill>
              <a:srgbClr val="FFFFFF"/>
            </a:solidFill>
            <a:latin typeface="+mj-lt"/>
            <a:cs typeface="Arial Unicode MS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Carlyle New 1">
      <a:dk1>
        <a:sysClr val="windowText" lastClr="000000"/>
      </a:dk1>
      <a:lt1>
        <a:sysClr val="window" lastClr="FFFFFF"/>
      </a:lt1>
      <a:dk2>
        <a:srgbClr val="004A88"/>
      </a:dk2>
      <a:lt2>
        <a:srgbClr val="DCDDE8"/>
      </a:lt2>
      <a:accent1>
        <a:srgbClr val="0065B3"/>
      </a:accent1>
      <a:accent2>
        <a:srgbClr val="765C96"/>
      </a:accent2>
      <a:accent3>
        <a:srgbClr val="589FA5"/>
      </a:accent3>
      <a:accent4>
        <a:srgbClr val="88B453"/>
      </a:accent4>
      <a:accent5>
        <a:srgbClr val="8C8C98"/>
      </a:accent5>
      <a:accent6>
        <a:srgbClr val="93C3C5"/>
      </a:accent6>
      <a:hlink>
        <a:srgbClr val="A38FBB"/>
      </a:hlink>
      <a:folHlink>
        <a:srgbClr val="B9D399"/>
      </a:folHlink>
    </a:clrScheme>
    <a:fontScheme name="Segoe UI Regular and Light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rgbClr val="3CAE2D"/>
        </a:solidFill>
      </a:spPr>
      <a:bodyPr vert="horz" wrap="square" lIns="0" tIns="0" rIns="0" bIns="0" rtlCol="0" anchor="ctr" anchorCtr="0">
        <a:noAutofit/>
      </a:bodyPr>
      <a:lstStyle>
        <a:defPPr marL="225425">
          <a:lnSpc>
            <a:spcPct val="100000"/>
          </a:lnSpc>
          <a:defRPr sz="1400" spc="-15" dirty="0">
            <a:solidFill>
              <a:srgbClr val="FFFFFF"/>
            </a:solidFill>
            <a:latin typeface="+mj-lt"/>
            <a:cs typeface="Arial Unicode MS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Office Theme">
  <a:themeElements>
    <a:clrScheme name="Carlyle New 1">
      <a:dk1>
        <a:sysClr val="windowText" lastClr="000000"/>
      </a:dk1>
      <a:lt1>
        <a:sysClr val="window" lastClr="FFFFFF"/>
      </a:lt1>
      <a:dk2>
        <a:srgbClr val="004A88"/>
      </a:dk2>
      <a:lt2>
        <a:srgbClr val="DCDDE8"/>
      </a:lt2>
      <a:accent1>
        <a:srgbClr val="0065B3"/>
      </a:accent1>
      <a:accent2>
        <a:srgbClr val="765C96"/>
      </a:accent2>
      <a:accent3>
        <a:srgbClr val="589FA5"/>
      </a:accent3>
      <a:accent4>
        <a:srgbClr val="88B453"/>
      </a:accent4>
      <a:accent5>
        <a:srgbClr val="8C8C98"/>
      </a:accent5>
      <a:accent6>
        <a:srgbClr val="93C3C5"/>
      </a:accent6>
      <a:hlink>
        <a:srgbClr val="A38FBB"/>
      </a:hlink>
      <a:folHlink>
        <a:srgbClr val="B9D399"/>
      </a:folHlink>
    </a:clrScheme>
    <a:fontScheme name="Segoe UI Regular and Light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rgbClr val="3CAE2D"/>
        </a:solidFill>
      </a:spPr>
      <a:bodyPr vert="horz" wrap="square" lIns="0" tIns="0" rIns="0" bIns="0" rtlCol="0" anchor="ctr" anchorCtr="0">
        <a:noAutofit/>
      </a:bodyPr>
      <a:lstStyle>
        <a:defPPr marL="225425">
          <a:lnSpc>
            <a:spcPct val="100000"/>
          </a:lnSpc>
          <a:defRPr sz="1400" spc="-15" dirty="0">
            <a:solidFill>
              <a:srgbClr val="FFFFFF"/>
            </a:solidFill>
            <a:latin typeface="+mj-lt"/>
            <a:cs typeface="Arial Unicode MS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Office Theme">
  <a:themeElements>
    <a:clrScheme name="Carlyle New 1">
      <a:dk1>
        <a:sysClr val="windowText" lastClr="000000"/>
      </a:dk1>
      <a:lt1>
        <a:sysClr val="window" lastClr="FFFFFF"/>
      </a:lt1>
      <a:dk2>
        <a:srgbClr val="004A88"/>
      </a:dk2>
      <a:lt2>
        <a:srgbClr val="DCDDE8"/>
      </a:lt2>
      <a:accent1>
        <a:srgbClr val="0065B3"/>
      </a:accent1>
      <a:accent2>
        <a:srgbClr val="765C96"/>
      </a:accent2>
      <a:accent3>
        <a:srgbClr val="589FA5"/>
      </a:accent3>
      <a:accent4>
        <a:srgbClr val="88B453"/>
      </a:accent4>
      <a:accent5>
        <a:srgbClr val="8C8C98"/>
      </a:accent5>
      <a:accent6>
        <a:srgbClr val="93C3C5"/>
      </a:accent6>
      <a:hlink>
        <a:srgbClr val="A38FBB"/>
      </a:hlink>
      <a:folHlink>
        <a:srgbClr val="B9D399"/>
      </a:folHlink>
    </a:clrScheme>
    <a:fontScheme name="Segoe UI Regular and Light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rgbClr val="3CAE2D"/>
        </a:solidFill>
      </a:spPr>
      <a:bodyPr vert="horz" wrap="square" lIns="0" tIns="0" rIns="0" bIns="0" rtlCol="0" anchor="ctr" anchorCtr="0">
        <a:noAutofit/>
      </a:bodyPr>
      <a:lstStyle>
        <a:defPPr marL="225425">
          <a:lnSpc>
            <a:spcPct val="100000"/>
          </a:lnSpc>
          <a:defRPr sz="1400" spc="-15" dirty="0">
            <a:solidFill>
              <a:srgbClr val="FFFFFF"/>
            </a:solidFill>
            <a:latin typeface="+mj-lt"/>
            <a:cs typeface="Arial Unicode MS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671</TotalTime>
  <Words>3793</Words>
  <Application>Microsoft Office PowerPoint</Application>
  <PresentationFormat>Widescreen</PresentationFormat>
  <Paragraphs>640</Paragraphs>
  <Slides>42</Slides>
  <Notes>41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42</vt:i4>
      </vt:variant>
    </vt:vector>
  </HeadingPairs>
  <TitlesOfParts>
    <vt:vector size="47" baseType="lpstr">
      <vt:lpstr>Carlyle Theme</vt:lpstr>
      <vt:lpstr>3_Office Theme</vt:lpstr>
      <vt:lpstr>2_Office Theme</vt:lpstr>
      <vt:lpstr>4_Office Theme</vt:lpstr>
      <vt:lpstr>5_Office Theme</vt:lpstr>
      <vt:lpstr>The Agile Manifesto</vt:lpstr>
      <vt:lpstr>The Agile Manifesto</vt:lpstr>
      <vt:lpstr>Continuous Improvement</vt:lpstr>
      <vt:lpstr>Continuous Improvement</vt:lpstr>
      <vt:lpstr>Push vs. Pull</vt:lpstr>
      <vt:lpstr>Scrum</vt:lpstr>
      <vt:lpstr>The Team</vt:lpstr>
      <vt:lpstr>The Product Owner</vt:lpstr>
      <vt:lpstr>The Scrum Master</vt:lpstr>
      <vt:lpstr>Extended Roles</vt:lpstr>
      <vt:lpstr>Agile Planning</vt:lpstr>
      <vt:lpstr>Purpose: Select work from the roadmap/backlog for the release  Preparation: Prioritized and estimated backlog Product Owner ready to discuss details Release timebox (how many sprints)  Execution: Review each epic by priority Select stories and add to sprints Validate velocity</vt:lpstr>
      <vt:lpstr>Purpose: Select what work is to be done, prepare details for how work will be implemented, make team commitment.  Preparation: Participation is critical Prioritized and estimated backlog Release Plan (optional) Product Owner ready to discuss details  Execution: Review each story by priority Estimate in Story Points (as needed) Identify specific tasks for each story Estimate tasks in ideal hours Compare to actual capacity available</vt:lpstr>
      <vt:lpstr>Daily Standup</vt:lpstr>
      <vt:lpstr>Purpose: Elaborate and refine work for future sprints.  Make stories “Sprint Ready”.  Preparation: Participation is critical Prioritized backlog Product Owner ready to discuss details  Execution: Partial team for early refinement, whole team for estimating Review each story by priority Ask questions Split epics as necessary Document in acceptance criteria Estimate</vt:lpstr>
      <vt:lpstr>Sprint Review/Demo</vt:lpstr>
      <vt:lpstr>Retrospective</vt:lpstr>
      <vt:lpstr>Cadence Calendar</vt:lpstr>
      <vt:lpstr>Defining Product Vision</vt:lpstr>
      <vt:lpstr>SAMPLE </vt:lpstr>
      <vt:lpstr>Define the Users</vt:lpstr>
      <vt:lpstr>Product Backlog</vt:lpstr>
      <vt:lpstr>Defining the Product</vt:lpstr>
      <vt:lpstr>Epic Breakdown Example</vt:lpstr>
      <vt:lpstr>Product Roadmap</vt:lpstr>
      <vt:lpstr>What is a User Story?</vt:lpstr>
      <vt:lpstr>User Story Format</vt:lpstr>
      <vt:lpstr>User Story Examples</vt:lpstr>
      <vt:lpstr>Types of Stories</vt:lpstr>
      <vt:lpstr>Acceptance Criteria</vt:lpstr>
      <vt:lpstr>Definition of Ready (Team doesn’t work on a story until…) and Definition of Done (Story is NOT done until…)</vt:lpstr>
      <vt:lpstr>Ordering the Backlog</vt:lpstr>
      <vt:lpstr>Categorization</vt:lpstr>
      <vt:lpstr>Estimating – Story Points</vt:lpstr>
      <vt:lpstr>PowerPoint Presentation</vt:lpstr>
      <vt:lpstr>PowerPoint Presentation</vt:lpstr>
      <vt:lpstr>Capacity Planning</vt:lpstr>
      <vt:lpstr>Velocity</vt:lpstr>
      <vt:lpstr>Metrics</vt:lpstr>
      <vt:lpstr>Burndown Charts (Scrum)</vt:lpstr>
      <vt:lpstr>Next Steps 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ttany@segalsavad.com</dc:creator>
  <cp:lastModifiedBy>MJ Parker</cp:lastModifiedBy>
  <cp:revision>573</cp:revision>
  <dcterms:created xsi:type="dcterms:W3CDTF">2020-08-04T17:44:13Z</dcterms:created>
  <dcterms:modified xsi:type="dcterms:W3CDTF">2022-10-18T18:12:39Z</dcterms:modified>
</cp:coreProperties>
</file>